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metadata" ContentType="application/binary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saveSubsetFonts="1" autoCompressPictures="0">
  <p:sldMasterIdLst>
    <p:sldMasterId id="2147483648" r:id="rId1"/>
  </p:sldMasterIdLst>
  <p:notesMasterIdLst>
    <p:notesMasterId r:id="rId13"/>
  </p:notesMasterIdLst>
  <p:sldIdLst>
    <p:sldId id="2080" r:id="rId2"/>
    <p:sldId id="257" r:id="rId3"/>
    <p:sldId id="260" r:id="rId4"/>
    <p:sldId id="263" r:id="rId5"/>
    <p:sldId id="266" r:id="rId6"/>
    <p:sldId id="2081" r:id="rId7"/>
    <p:sldId id="2083" r:id="rId8"/>
    <p:sldId id="2082" r:id="rId9"/>
    <p:sldId id="2084" r:id="rId10"/>
    <p:sldId id="2085" r:id="rId11"/>
    <p:sldId id="2079" r:id="rId12"/>
  </p:sldIdLst>
  <p:sldSz cx="11520488" cy="6480175"/>
  <p:notesSz cx="6858000" cy="9144000"/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pos="3833" userDrawn="1">
          <p15:clr>
            <a:srgbClr val="A4A3A4"/>
          </p15:clr>
        </p15:guide>
        <p15:guide id="2" orient="horz" pos="1406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  <p:ext uri="http://customooxmlschemas.google.com/">
      <go:slidesCustomData xmlns="" xmlns:mc="http://schemas.openxmlformats.org/markup-compatibility/2006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go="http://customooxmlschemas.google.com/" r:id="rId16" roundtripDataSignature="AMtx7miCHZgF7vvnR9c0Y/usp0a1mqBzOg==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A64D7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4956"/>
    <p:restoredTop sz="94663"/>
  </p:normalViewPr>
  <p:slideViewPr>
    <p:cSldViewPr snapToGrid="0">
      <p:cViewPr>
        <p:scale>
          <a:sx n="104" d="100"/>
          <a:sy n="104" d="100"/>
        </p:scale>
        <p:origin x="-456" y="504"/>
      </p:cViewPr>
      <p:guideLst>
        <p:guide pos="3833"/>
        <p:guide orient="horz" pos="1406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100" d="100"/>
          <a:sy n="100" d="100"/>
        </p:scale>
        <p:origin x="0" y="0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customschemas.google.com/relationships/presentationmetadata" Target="metadata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 txBox="1">
            <a:spLocks noGrp="1"/>
          </p:cNvSpPr>
          <p:nvPr>
            <p:ph type="hdr" idx="2"/>
          </p:nvPr>
        </p:nvSpPr>
        <p:spPr>
          <a:xfrm>
            <a:off x="0" y="0"/>
            <a:ext cx="29718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4" name="Google Shape;4;n"/>
          <p:cNvSpPr txBox="1">
            <a:spLocks noGrp="1"/>
          </p:cNvSpPr>
          <p:nvPr>
            <p:ph type="dt" idx="10"/>
          </p:nvPr>
        </p:nvSpPr>
        <p:spPr>
          <a:xfrm>
            <a:off x="3884613" y="0"/>
            <a:ext cx="29718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r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5" name="Google Shape;5;n"/>
          <p:cNvSpPr>
            <a:spLocks noGrp="1" noRot="1" noChangeAspect="1"/>
          </p:cNvSpPr>
          <p:nvPr>
            <p:ph type="sldImg" idx="3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6" name="Google Shape;6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marR="0" lvl="0" indent="-228600" algn="l" rtl="0">
              <a:spcBef>
                <a:spcPts val="340"/>
              </a:spcBef>
              <a:spcAft>
                <a:spcPts val="0"/>
              </a:spcAft>
              <a:buSzPts val="1400"/>
              <a:buNone/>
              <a:defRPr sz="1134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228600" algn="l" rtl="0">
              <a:spcBef>
                <a:spcPts val="340"/>
              </a:spcBef>
              <a:spcAft>
                <a:spcPts val="0"/>
              </a:spcAft>
              <a:buSzPts val="1400"/>
              <a:buNone/>
              <a:defRPr sz="1134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228600" algn="l" rtl="0">
              <a:spcBef>
                <a:spcPts val="340"/>
              </a:spcBef>
              <a:spcAft>
                <a:spcPts val="0"/>
              </a:spcAft>
              <a:buSzPts val="1400"/>
              <a:buNone/>
              <a:defRPr sz="1134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228600" algn="l" rtl="0">
              <a:spcBef>
                <a:spcPts val="340"/>
              </a:spcBef>
              <a:spcAft>
                <a:spcPts val="0"/>
              </a:spcAft>
              <a:buSzPts val="1400"/>
              <a:buNone/>
              <a:defRPr sz="1134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228600" algn="l" rtl="0">
              <a:spcBef>
                <a:spcPts val="340"/>
              </a:spcBef>
              <a:spcAft>
                <a:spcPts val="0"/>
              </a:spcAft>
              <a:buSzPts val="1400"/>
              <a:buNone/>
              <a:defRPr sz="1134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134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134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134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134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" name="Google Shape;7;n"/>
          <p:cNvSpPr txBox="1">
            <a:spLocks noGrp="1"/>
          </p:cNvSpPr>
          <p:nvPr>
            <p:ph type="ftr" idx="11"/>
          </p:nvPr>
        </p:nvSpPr>
        <p:spPr>
          <a:xfrm>
            <a:off x="0" y="8685213"/>
            <a:ext cx="29718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8" name="Google Shape;8;n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de-DE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‹#›</a:t>
            </a:fld>
            <a:endParaRPr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FE811EB7-7BAB-4421-9263-DC3C33FF6A90}" type="slidenum">
              <a:rPr lang="de-DE" smtClean="0"/>
              <a:pPr>
                <a:defRPr/>
              </a:pPr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4947368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9" name="Google Shape;189;p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34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</a:pPr>
            <a:endParaRPr/>
          </a:p>
        </p:txBody>
      </p:sp>
      <p:sp>
        <p:nvSpPr>
          <p:cNvPr id="190" name="Google Shape;190;p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257534337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FE811EB7-7BAB-4421-9263-DC3C33FF6A90}" type="slidenum">
              <a:rPr lang="de-DE" smtClean="0"/>
              <a:pPr>
                <a:defRPr/>
              </a:pPr>
              <a:t>1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8157726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3" name="Google Shape;123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24" name="Google Shape;124;p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Calibri"/>
              <a:buNone/>
            </a:pPr>
            <a:r>
              <a:rPr lang="de-DE"/>
              <a:t>Bei internen Präsentationen zu „Verein_Titelfolie“ wechseln.</a:t>
            </a:r>
            <a:endParaRPr/>
          </a:p>
          <a:p>
            <a:pPr marL="0" lvl="0" indent="0" algn="l" rtl="0">
              <a:spcBef>
                <a:spcPts val="34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5" name="Google Shape;125;p2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de-DE"/>
              <a:t>2</a:t>
            </a:fld>
            <a:endParaRPr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2" name="Google Shape;152;p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53" name="Google Shape;153;p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de-DE"/>
              <a:t>3</a:t>
            </a:r>
            <a:endParaRPr/>
          </a:p>
        </p:txBody>
      </p:sp>
      <p:sp>
        <p:nvSpPr>
          <p:cNvPr id="154" name="Google Shape;154;p5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de-DE"/>
              <a:t>3</a:t>
            </a:fld>
            <a:endParaRPr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3" name="Google Shape;203;g7bf0d4381b_1_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34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</a:pPr>
            <a:endParaRPr/>
          </a:p>
        </p:txBody>
      </p:sp>
      <p:sp>
        <p:nvSpPr>
          <p:cNvPr id="204" name="Google Shape;204;g7bf0d4381b_1_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9" name="Google Shape;189;p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34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</a:pPr>
            <a:endParaRPr/>
          </a:p>
        </p:txBody>
      </p:sp>
      <p:sp>
        <p:nvSpPr>
          <p:cNvPr id="190" name="Google Shape;190;p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12067749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9" name="Google Shape;189;p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34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</a:pPr>
            <a:endParaRPr/>
          </a:p>
        </p:txBody>
      </p:sp>
      <p:sp>
        <p:nvSpPr>
          <p:cNvPr id="190" name="Google Shape;190;p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198774059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9" name="Google Shape;189;p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34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</a:pPr>
            <a:endParaRPr/>
          </a:p>
        </p:txBody>
      </p:sp>
      <p:sp>
        <p:nvSpPr>
          <p:cNvPr id="190" name="Google Shape;190;p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369635847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9" name="Google Shape;189;p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34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</a:pPr>
            <a:endParaRPr/>
          </a:p>
        </p:txBody>
      </p:sp>
      <p:sp>
        <p:nvSpPr>
          <p:cNvPr id="190" name="Google Shape;190;p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57037473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9" name="Google Shape;189;p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34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</a:pPr>
            <a:endParaRPr/>
          </a:p>
        </p:txBody>
      </p:sp>
      <p:sp>
        <p:nvSpPr>
          <p:cNvPr id="190" name="Google Shape;190;p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59481619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8.jpe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GmbH_Titelfolie">
  <p:cSld name="GmbH_Titelfolie">
    <p:spTree>
      <p:nvGrpSpPr>
        <p:cNvPr id="1" name="Shape 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Google Shape;26;p12"/>
          <p:cNvSpPr txBox="1">
            <a:spLocks noGrp="1"/>
          </p:cNvSpPr>
          <p:nvPr>
            <p:ph type="ctrTitle"/>
          </p:nvPr>
        </p:nvSpPr>
        <p:spPr>
          <a:xfrm>
            <a:off x="4611758" y="2844429"/>
            <a:ext cx="6548367" cy="6480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 sz="3600">
                <a:solidFill>
                  <a:schemeClr val="dk1"/>
                </a:solidFill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7" name="Google Shape;27;p12"/>
          <p:cNvSpPr txBox="1">
            <a:spLocks noGrp="1"/>
          </p:cNvSpPr>
          <p:nvPr>
            <p:ph type="subTitle" idx="1"/>
          </p:nvPr>
        </p:nvSpPr>
        <p:spPr>
          <a:xfrm>
            <a:off x="4611758" y="3492501"/>
            <a:ext cx="6548369" cy="307777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Noto Sans Symbols"/>
              <a:buNone/>
              <a:defRPr sz="2000" b="0">
                <a:solidFill>
                  <a:schemeClr val="dk1"/>
                </a:solidFill>
              </a:defRPr>
            </a:lvl1pPr>
            <a:lvl2pPr lvl="1" algn="l"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lvl="2" algn="l"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lvl="3" algn="l"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lvl="4" algn="l"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lvl="5" algn="l"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▪"/>
              <a:defRPr/>
            </a:lvl6pPr>
            <a:lvl7pPr lvl="6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▪"/>
              <a:defRPr/>
            </a:lvl7pPr>
            <a:lvl8pPr lvl="7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▪"/>
              <a:defRPr/>
            </a:lvl8pPr>
            <a:lvl9pPr lvl="8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▪"/>
              <a:defRPr/>
            </a:lvl9pPr>
          </a:lstStyle>
          <a:p>
            <a:endParaRPr/>
          </a:p>
        </p:txBody>
      </p:sp>
      <p:grpSp>
        <p:nvGrpSpPr>
          <p:cNvPr id="28" name="Google Shape;28;p12"/>
          <p:cNvGrpSpPr/>
          <p:nvPr/>
        </p:nvGrpSpPr>
        <p:grpSpPr>
          <a:xfrm>
            <a:off x="731838" y="1601444"/>
            <a:ext cx="3289186" cy="3438869"/>
            <a:chOff x="747252" y="1189200"/>
            <a:chExt cx="3864505" cy="4040369"/>
          </a:xfrm>
        </p:grpSpPr>
        <p:pic>
          <p:nvPicPr>
            <p:cNvPr id="29" name="Google Shape;29;p1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1148756" y="1189200"/>
              <a:ext cx="3061495" cy="3061495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30" name="Google Shape;30;p12"/>
            <p:cNvPicPr preferRelativeResize="0"/>
            <p:nvPr/>
          </p:nvPicPr>
          <p:blipFill rotWithShape="1">
            <a:blip r:embed="rId3" cstate="screen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47252" y="4369826"/>
              <a:ext cx="3864505" cy="859743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GmbH_Abschluss">
  <p:cSld name="GmbH_Abschluss">
    <p:spTree>
      <p:nvGrpSpPr>
        <p:cNvPr id="1" name="Shape 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Google Shape;87;p22"/>
          <p:cNvSpPr txBox="1">
            <a:spLocks noGrp="1"/>
          </p:cNvSpPr>
          <p:nvPr>
            <p:ph type="body" idx="1"/>
          </p:nvPr>
        </p:nvSpPr>
        <p:spPr>
          <a:xfrm>
            <a:off x="922025" y="610860"/>
            <a:ext cx="7561256" cy="43371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457200" lvl="0" indent="-228600" algn="ctr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2400">
                <a:solidFill>
                  <a:schemeClr val="dk1"/>
                </a:solidFill>
              </a:defRPr>
            </a:lvl1pPr>
            <a:lvl2pPr marL="914400" lvl="1" indent="-342900" algn="l"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▪"/>
              <a:defRPr/>
            </a:lvl6pPr>
            <a:lvl7pPr marL="3200400" lvl="6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▪"/>
              <a:defRPr/>
            </a:lvl7pPr>
            <a:lvl8pPr marL="3657600" lvl="7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▪"/>
              <a:defRPr/>
            </a:lvl8pPr>
            <a:lvl9pPr marL="4114800" lvl="8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▪"/>
              <a:defRPr/>
            </a:lvl9pPr>
          </a:lstStyle>
          <a:p>
            <a:endParaRPr/>
          </a:p>
        </p:txBody>
      </p:sp>
      <p:sp>
        <p:nvSpPr>
          <p:cNvPr id="88" name="Google Shape;88;p22"/>
          <p:cNvSpPr txBox="1">
            <a:spLocks noGrp="1"/>
          </p:cNvSpPr>
          <p:nvPr>
            <p:ph type="body" idx="2"/>
          </p:nvPr>
        </p:nvSpPr>
        <p:spPr>
          <a:xfrm>
            <a:off x="5763112" y="2159967"/>
            <a:ext cx="3568664" cy="106110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>
                <a:solidFill>
                  <a:schemeClr val="dk1"/>
                </a:solidFill>
              </a:defRPr>
            </a:lvl1pPr>
            <a:lvl2pPr marL="914400" lvl="1" indent="-342900" algn="l"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▪"/>
              <a:defRPr/>
            </a:lvl6pPr>
            <a:lvl7pPr marL="3200400" lvl="6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▪"/>
              <a:defRPr/>
            </a:lvl7pPr>
            <a:lvl8pPr marL="3657600" lvl="7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▪"/>
              <a:defRPr/>
            </a:lvl8pPr>
            <a:lvl9pPr marL="4114800" lvl="8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▪"/>
              <a:defRPr/>
            </a:lvl9pPr>
          </a:lstStyle>
          <a:p>
            <a:endParaRPr/>
          </a:p>
        </p:txBody>
      </p:sp>
      <p:sp>
        <p:nvSpPr>
          <p:cNvPr id="89" name="Google Shape;89;p22"/>
          <p:cNvSpPr txBox="1">
            <a:spLocks noGrp="1"/>
          </p:cNvSpPr>
          <p:nvPr>
            <p:ph type="body" idx="3"/>
          </p:nvPr>
        </p:nvSpPr>
        <p:spPr>
          <a:xfrm>
            <a:off x="5763112" y="3070520"/>
            <a:ext cx="3568664" cy="8439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>
                <a:solidFill>
                  <a:schemeClr val="dk1"/>
                </a:solidFill>
              </a:defRPr>
            </a:lvl1pPr>
            <a:lvl2pPr marL="914400" lvl="1" indent="-342900" algn="l"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▪"/>
              <a:defRPr/>
            </a:lvl6pPr>
            <a:lvl7pPr marL="3200400" lvl="6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▪"/>
              <a:defRPr/>
            </a:lvl7pPr>
            <a:lvl8pPr marL="3657600" lvl="7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▪"/>
              <a:defRPr/>
            </a:lvl8pPr>
            <a:lvl9pPr marL="4114800" lvl="8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▪"/>
              <a:defRPr/>
            </a:lvl9pPr>
          </a:lstStyle>
          <a:p>
            <a:endParaRPr/>
          </a:p>
        </p:txBody>
      </p:sp>
      <p:sp>
        <p:nvSpPr>
          <p:cNvPr id="90" name="Google Shape;90;p22"/>
          <p:cNvSpPr txBox="1">
            <a:spLocks noGrp="1"/>
          </p:cNvSpPr>
          <p:nvPr>
            <p:ph type="body" idx="4"/>
          </p:nvPr>
        </p:nvSpPr>
        <p:spPr>
          <a:xfrm>
            <a:off x="5763112" y="4014389"/>
            <a:ext cx="3568664" cy="8439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>
                <a:solidFill>
                  <a:schemeClr val="dk1"/>
                </a:solidFill>
              </a:defRPr>
            </a:lvl1pPr>
            <a:lvl2pPr marL="914400" lvl="1" indent="-342900" algn="l"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▪"/>
              <a:defRPr/>
            </a:lvl6pPr>
            <a:lvl7pPr marL="3200400" lvl="6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▪"/>
              <a:defRPr/>
            </a:lvl7pPr>
            <a:lvl8pPr marL="3657600" lvl="7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▪"/>
              <a:defRPr/>
            </a:lvl8pPr>
            <a:lvl9pPr marL="4114800" lvl="8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▪"/>
              <a:defRPr/>
            </a:lvl9pPr>
          </a:lstStyle>
          <a:p>
            <a:endParaRPr/>
          </a:p>
        </p:txBody>
      </p:sp>
      <p:grpSp>
        <p:nvGrpSpPr>
          <p:cNvPr id="91" name="Google Shape;91;p22"/>
          <p:cNvGrpSpPr/>
          <p:nvPr/>
        </p:nvGrpSpPr>
        <p:grpSpPr>
          <a:xfrm>
            <a:off x="731838" y="1601444"/>
            <a:ext cx="3289186" cy="3438869"/>
            <a:chOff x="747252" y="1189200"/>
            <a:chExt cx="3864505" cy="4040369"/>
          </a:xfrm>
        </p:grpSpPr>
        <p:pic>
          <p:nvPicPr>
            <p:cNvPr id="92" name="Google Shape;92;p2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1148756" y="1189200"/>
              <a:ext cx="3061495" cy="3061495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93" name="Google Shape;93;p22"/>
            <p:cNvPicPr preferRelativeResize="0"/>
            <p:nvPr/>
          </p:nvPicPr>
          <p:blipFill rotWithShape="1">
            <a:blip r:embed="rId3" cstate="screen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47252" y="4369826"/>
              <a:ext cx="3864505" cy="859743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Inhalt_4_Icon">
  <p:cSld name="Inhalt_4_Icon">
    <p:spTree>
      <p:nvGrpSpPr>
        <p:cNvPr id="1" name="Shape 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" name="Google Shape;95;p23"/>
          <p:cNvSpPr txBox="1">
            <a:spLocks noGrp="1"/>
          </p:cNvSpPr>
          <p:nvPr>
            <p:ph type="title"/>
          </p:nvPr>
        </p:nvSpPr>
        <p:spPr>
          <a:xfrm>
            <a:off x="719139" y="179388"/>
            <a:ext cx="10440986" cy="4333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 sz="1600"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6" name="Google Shape;96;p23"/>
          <p:cNvSpPr txBox="1">
            <a:spLocks noGrp="1"/>
          </p:cNvSpPr>
          <p:nvPr>
            <p:ph type="body" idx="1"/>
          </p:nvPr>
        </p:nvSpPr>
        <p:spPr>
          <a:xfrm>
            <a:off x="719138" y="828641"/>
            <a:ext cx="10439646" cy="2143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600"/>
              <a:buNone/>
              <a:defRPr sz="1600">
                <a:solidFill>
                  <a:schemeClr val="accent1"/>
                </a:solidFill>
              </a:defRPr>
            </a:lvl1pPr>
            <a:lvl2pPr marL="914400" lvl="1" indent="-342900" algn="l"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▪"/>
              <a:defRPr/>
            </a:lvl6pPr>
            <a:lvl7pPr marL="3200400" lvl="6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▪"/>
              <a:defRPr/>
            </a:lvl7pPr>
            <a:lvl8pPr marL="3657600" lvl="7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▪"/>
              <a:defRPr/>
            </a:lvl8pPr>
            <a:lvl9pPr marL="4114800" lvl="8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▪"/>
              <a:defRPr/>
            </a:lvl9pPr>
          </a:lstStyle>
          <a:p>
            <a:endParaRPr/>
          </a:p>
        </p:txBody>
      </p:sp>
      <p:sp>
        <p:nvSpPr>
          <p:cNvPr id="97" name="Google Shape;97;p23"/>
          <p:cNvSpPr txBox="1">
            <a:spLocks noGrp="1"/>
          </p:cNvSpPr>
          <p:nvPr>
            <p:ph type="body" idx="2"/>
          </p:nvPr>
        </p:nvSpPr>
        <p:spPr>
          <a:xfrm>
            <a:off x="1188000" y="1908000"/>
            <a:ext cx="4392000" cy="147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17500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▪"/>
              <a:defRPr/>
            </a:lvl6pPr>
            <a:lvl7pPr marL="3200400" lvl="6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▪"/>
              <a:defRPr/>
            </a:lvl7pPr>
            <a:lvl8pPr marL="3657600" lvl="7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▪"/>
              <a:defRPr/>
            </a:lvl8pPr>
            <a:lvl9pPr marL="4114800" lvl="8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▪"/>
              <a:defRPr/>
            </a:lvl9pPr>
          </a:lstStyle>
          <a:p>
            <a:endParaRPr/>
          </a:p>
        </p:txBody>
      </p:sp>
      <p:sp>
        <p:nvSpPr>
          <p:cNvPr id="98" name="Google Shape;98;p23"/>
          <p:cNvSpPr txBox="1">
            <a:spLocks noGrp="1"/>
          </p:cNvSpPr>
          <p:nvPr>
            <p:ph type="body" idx="3"/>
          </p:nvPr>
        </p:nvSpPr>
        <p:spPr>
          <a:xfrm>
            <a:off x="6408739" y="1908000"/>
            <a:ext cx="4392612" cy="147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17500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▪"/>
              <a:defRPr/>
            </a:lvl6pPr>
            <a:lvl7pPr marL="3200400" lvl="6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▪"/>
              <a:defRPr/>
            </a:lvl7pPr>
            <a:lvl8pPr marL="3657600" lvl="7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▪"/>
              <a:defRPr/>
            </a:lvl8pPr>
            <a:lvl9pPr marL="4114800" lvl="8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▪"/>
              <a:defRPr/>
            </a:lvl9pPr>
          </a:lstStyle>
          <a:p>
            <a:endParaRPr/>
          </a:p>
        </p:txBody>
      </p:sp>
      <p:sp>
        <p:nvSpPr>
          <p:cNvPr id="99" name="Google Shape;99;p23"/>
          <p:cNvSpPr txBox="1">
            <a:spLocks noGrp="1"/>
          </p:cNvSpPr>
          <p:nvPr>
            <p:ph type="body" idx="4"/>
          </p:nvPr>
        </p:nvSpPr>
        <p:spPr>
          <a:xfrm>
            <a:off x="1728000" y="1350000"/>
            <a:ext cx="3852000" cy="36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457200" lvl="0" indent="-228600" algn="l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400"/>
              <a:buNone/>
              <a:defRPr>
                <a:solidFill>
                  <a:schemeClr val="accent1"/>
                </a:solidFill>
              </a:defRPr>
            </a:lvl1pPr>
            <a:lvl2pPr marL="914400" lvl="1" indent="-342900" algn="l"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▪"/>
              <a:defRPr/>
            </a:lvl6pPr>
            <a:lvl7pPr marL="3200400" lvl="6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▪"/>
              <a:defRPr/>
            </a:lvl7pPr>
            <a:lvl8pPr marL="3657600" lvl="7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▪"/>
              <a:defRPr/>
            </a:lvl8pPr>
            <a:lvl9pPr marL="4114800" lvl="8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▪"/>
              <a:defRPr/>
            </a:lvl9pPr>
          </a:lstStyle>
          <a:p>
            <a:endParaRPr/>
          </a:p>
        </p:txBody>
      </p:sp>
      <p:sp>
        <p:nvSpPr>
          <p:cNvPr id="100" name="Google Shape;100;p23"/>
          <p:cNvSpPr>
            <a:spLocks noGrp="1"/>
          </p:cNvSpPr>
          <p:nvPr>
            <p:ph type="pic" idx="5"/>
          </p:nvPr>
        </p:nvSpPr>
        <p:spPr>
          <a:xfrm>
            <a:off x="1080000" y="1260000"/>
            <a:ext cx="540955" cy="54095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400"/>
              <a:buFont typeface="Arial"/>
              <a:buNone/>
              <a:defRPr sz="14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Char char="•"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Char char="•"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Char char="•"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512"/>
              <a:buFont typeface="Noto Sans Symbols"/>
              <a:buChar char="▪"/>
              <a:defRPr sz="1512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302"/>
              </a:spcBef>
              <a:spcAft>
                <a:spcPts val="0"/>
              </a:spcAft>
              <a:buClr>
                <a:schemeClr val="dk1"/>
              </a:buClr>
              <a:buSzPts val="1512"/>
              <a:buFont typeface="Noto Sans Symbols"/>
              <a:buChar char="▪"/>
              <a:defRPr sz="1512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302"/>
              </a:spcBef>
              <a:spcAft>
                <a:spcPts val="0"/>
              </a:spcAft>
              <a:buClr>
                <a:schemeClr val="dk1"/>
              </a:buClr>
              <a:buSzPts val="1512"/>
              <a:buFont typeface="Noto Sans Symbols"/>
              <a:buChar char="▪"/>
              <a:defRPr sz="1512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302"/>
              </a:spcBef>
              <a:spcAft>
                <a:spcPts val="0"/>
              </a:spcAft>
              <a:buClr>
                <a:schemeClr val="dk1"/>
              </a:buClr>
              <a:buSzPts val="1512"/>
              <a:buFont typeface="Noto Sans Symbols"/>
              <a:buChar char="▪"/>
              <a:defRPr sz="1512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01" name="Google Shape;101;p23"/>
          <p:cNvSpPr txBox="1">
            <a:spLocks noGrp="1"/>
          </p:cNvSpPr>
          <p:nvPr>
            <p:ph type="body" idx="6"/>
          </p:nvPr>
        </p:nvSpPr>
        <p:spPr>
          <a:xfrm>
            <a:off x="6948373" y="1350000"/>
            <a:ext cx="3852977" cy="36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457200" lvl="0" indent="-228600" algn="l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400"/>
              <a:buNone/>
              <a:defRPr>
                <a:solidFill>
                  <a:schemeClr val="accent1"/>
                </a:solidFill>
              </a:defRPr>
            </a:lvl1pPr>
            <a:lvl2pPr marL="914400" lvl="1" indent="-342900" algn="l"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▪"/>
              <a:defRPr/>
            </a:lvl6pPr>
            <a:lvl7pPr marL="3200400" lvl="6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▪"/>
              <a:defRPr/>
            </a:lvl7pPr>
            <a:lvl8pPr marL="3657600" lvl="7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▪"/>
              <a:defRPr/>
            </a:lvl8pPr>
            <a:lvl9pPr marL="4114800" lvl="8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▪"/>
              <a:defRPr/>
            </a:lvl9pPr>
          </a:lstStyle>
          <a:p>
            <a:endParaRPr/>
          </a:p>
        </p:txBody>
      </p:sp>
      <p:sp>
        <p:nvSpPr>
          <p:cNvPr id="102" name="Google Shape;102;p23"/>
          <p:cNvSpPr>
            <a:spLocks noGrp="1"/>
          </p:cNvSpPr>
          <p:nvPr>
            <p:ph type="pic" idx="7"/>
          </p:nvPr>
        </p:nvSpPr>
        <p:spPr>
          <a:xfrm>
            <a:off x="6299904" y="1260000"/>
            <a:ext cx="540955" cy="54095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400"/>
              <a:buFont typeface="Arial"/>
              <a:buNone/>
              <a:defRPr sz="14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Char char="•"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Char char="•"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Char char="•"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512"/>
              <a:buFont typeface="Noto Sans Symbols"/>
              <a:buChar char="▪"/>
              <a:defRPr sz="1512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302"/>
              </a:spcBef>
              <a:spcAft>
                <a:spcPts val="0"/>
              </a:spcAft>
              <a:buClr>
                <a:schemeClr val="dk1"/>
              </a:buClr>
              <a:buSzPts val="1512"/>
              <a:buFont typeface="Noto Sans Symbols"/>
              <a:buChar char="▪"/>
              <a:defRPr sz="1512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302"/>
              </a:spcBef>
              <a:spcAft>
                <a:spcPts val="0"/>
              </a:spcAft>
              <a:buClr>
                <a:schemeClr val="dk1"/>
              </a:buClr>
              <a:buSzPts val="1512"/>
              <a:buFont typeface="Noto Sans Symbols"/>
              <a:buChar char="▪"/>
              <a:defRPr sz="1512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302"/>
              </a:spcBef>
              <a:spcAft>
                <a:spcPts val="0"/>
              </a:spcAft>
              <a:buClr>
                <a:schemeClr val="dk1"/>
              </a:buClr>
              <a:buSzPts val="1512"/>
              <a:buFont typeface="Noto Sans Symbols"/>
              <a:buChar char="▪"/>
              <a:defRPr sz="1512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03" name="Google Shape;103;p23"/>
          <p:cNvSpPr txBox="1">
            <a:spLocks noGrp="1"/>
          </p:cNvSpPr>
          <p:nvPr>
            <p:ph type="body" idx="8"/>
          </p:nvPr>
        </p:nvSpPr>
        <p:spPr>
          <a:xfrm>
            <a:off x="719999" y="5761038"/>
            <a:ext cx="10440126" cy="1793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457200" lvl="0" indent="-228600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 b="0">
                <a:latin typeface="Arial"/>
                <a:ea typeface="Arial"/>
                <a:cs typeface="Arial"/>
                <a:sym typeface="Arial"/>
              </a:defRPr>
            </a:lvl1pPr>
            <a:lvl2pPr marL="914400" lvl="1" indent="-294576" algn="l"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039"/>
              <a:buChar char="•"/>
              <a:defRPr sz="1039">
                <a:latin typeface="Arial"/>
                <a:ea typeface="Arial"/>
                <a:cs typeface="Arial"/>
                <a:sym typeface="Arial"/>
              </a:defRPr>
            </a:lvl2pPr>
            <a:lvl3pPr marL="1371600" lvl="2" indent="-294576" algn="l"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039"/>
              <a:buChar char="•"/>
              <a:defRPr sz="1039">
                <a:latin typeface="Arial"/>
                <a:ea typeface="Arial"/>
                <a:cs typeface="Arial"/>
                <a:sym typeface="Arial"/>
              </a:defRPr>
            </a:lvl3pPr>
            <a:lvl4pPr marL="1828800" lvl="3" indent="-294576" algn="l"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039"/>
              <a:buChar char="•"/>
              <a:defRPr sz="1039">
                <a:latin typeface="Arial"/>
                <a:ea typeface="Arial"/>
                <a:cs typeface="Arial"/>
                <a:sym typeface="Arial"/>
              </a:defRPr>
            </a:lvl4pPr>
            <a:lvl5pPr marL="2286000" lvl="4" indent="-294576" algn="l"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039"/>
              <a:buChar char="•"/>
              <a:defRPr sz="1039">
                <a:latin typeface="Arial"/>
                <a:ea typeface="Arial"/>
                <a:cs typeface="Arial"/>
                <a:sym typeface="Arial"/>
              </a:defRPr>
            </a:lvl5pPr>
            <a:lvl6pPr marL="2743200" lvl="5" indent="-342900" algn="l"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▪"/>
              <a:defRPr/>
            </a:lvl6pPr>
            <a:lvl7pPr marL="3200400" lvl="6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▪"/>
              <a:defRPr/>
            </a:lvl7pPr>
            <a:lvl8pPr marL="3657600" lvl="7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▪"/>
              <a:defRPr/>
            </a:lvl8pPr>
            <a:lvl9pPr marL="4114800" lvl="8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▪"/>
              <a:defRPr/>
            </a:lvl9pPr>
          </a:lstStyle>
          <a:p>
            <a:endParaRPr/>
          </a:p>
        </p:txBody>
      </p:sp>
      <p:sp>
        <p:nvSpPr>
          <p:cNvPr id="104" name="Google Shape;104;p23"/>
          <p:cNvSpPr txBox="1">
            <a:spLocks noGrp="1"/>
          </p:cNvSpPr>
          <p:nvPr>
            <p:ph type="ftr" idx="11"/>
          </p:nvPr>
        </p:nvSpPr>
        <p:spPr>
          <a:xfrm>
            <a:off x="719138" y="6177600"/>
            <a:ext cx="7200000" cy="1231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5" name="Google Shape;105;p23"/>
          <p:cNvSpPr txBox="1">
            <a:spLocks noGrp="1"/>
          </p:cNvSpPr>
          <p:nvPr>
            <p:ph type="body" idx="9"/>
          </p:nvPr>
        </p:nvSpPr>
        <p:spPr>
          <a:xfrm>
            <a:off x="1188000" y="4139045"/>
            <a:ext cx="4392000" cy="147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17500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▪"/>
              <a:defRPr/>
            </a:lvl6pPr>
            <a:lvl7pPr marL="3200400" lvl="6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▪"/>
              <a:defRPr/>
            </a:lvl7pPr>
            <a:lvl8pPr marL="3657600" lvl="7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▪"/>
              <a:defRPr/>
            </a:lvl8pPr>
            <a:lvl9pPr marL="4114800" lvl="8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▪"/>
              <a:defRPr/>
            </a:lvl9pPr>
          </a:lstStyle>
          <a:p>
            <a:endParaRPr/>
          </a:p>
        </p:txBody>
      </p:sp>
      <p:sp>
        <p:nvSpPr>
          <p:cNvPr id="106" name="Google Shape;106;p23"/>
          <p:cNvSpPr txBox="1">
            <a:spLocks noGrp="1"/>
          </p:cNvSpPr>
          <p:nvPr>
            <p:ph type="body" idx="13"/>
          </p:nvPr>
        </p:nvSpPr>
        <p:spPr>
          <a:xfrm>
            <a:off x="6408739" y="4139045"/>
            <a:ext cx="4392612" cy="147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17500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▪"/>
              <a:defRPr/>
            </a:lvl6pPr>
            <a:lvl7pPr marL="3200400" lvl="6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▪"/>
              <a:defRPr/>
            </a:lvl7pPr>
            <a:lvl8pPr marL="3657600" lvl="7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▪"/>
              <a:defRPr/>
            </a:lvl8pPr>
            <a:lvl9pPr marL="4114800" lvl="8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▪"/>
              <a:defRPr/>
            </a:lvl9pPr>
          </a:lstStyle>
          <a:p>
            <a:endParaRPr/>
          </a:p>
        </p:txBody>
      </p:sp>
      <p:sp>
        <p:nvSpPr>
          <p:cNvPr id="107" name="Google Shape;107;p23"/>
          <p:cNvSpPr txBox="1">
            <a:spLocks noGrp="1"/>
          </p:cNvSpPr>
          <p:nvPr>
            <p:ph type="body" idx="14"/>
          </p:nvPr>
        </p:nvSpPr>
        <p:spPr>
          <a:xfrm>
            <a:off x="1728000" y="3581522"/>
            <a:ext cx="3852000" cy="36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457200" lvl="0" indent="-228600" algn="l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400"/>
              <a:buNone/>
              <a:defRPr>
                <a:solidFill>
                  <a:schemeClr val="accent1"/>
                </a:solidFill>
              </a:defRPr>
            </a:lvl1pPr>
            <a:lvl2pPr marL="914400" lvl="1" indent="-342900" algn="l"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▪"/>
              <a:defRPr/>
            </a:lvl6pPr>
            <a:lvl7pPr marL="3200400" lvl="6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▪"/>
              <a:defRPr/>
            </a:lvl7pPr>
            <a:lvl8pPr marL="3657600" lvl="7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▪"/>
              <a:defRPr/>
            </a:lvl8pPr>
            <a:lvl9pPr marL="4114800" lvl="8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▪"/>
              <a:defRPr/>
            </a:lvl9pPr>
          </a:lstStyle>
          <a:p>
            <a:endParaRPr/>
          </a:p>
        </p:txBody>
      </p:sp>
      <p:sp>
        <p:nvSpPr>
          <p:cNvPr id="108" name="Google Shape;108;p23"/>
          <p:cNvSpPr>
            <a:spLocks noGrp="1"/>
          </p:cNvSpPr>
          <p:nvPr>
            <p:ph type="pic" idx="15"/>
          </p:nvPr>
        </p:nvSpPr>
        <p:spPr>
          <a:xfrm>
            <a:off x="1080000" y="3491045"/>
            <a:ext cx="540955" cy="54095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400"/>
              <a:buFont typeface="Arial"/>
              <a:buNone/>
              <a:defRPr sz="14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Char char="•"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Char char="•"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Char char="•"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512"/>
              <a:buFont typeface="Noto Sans Symbols"/>
              <a:buChar char="▪"/>
              <a:defRPr sz="1512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302"/>
              </a:spcBef>
              <a:spcAft>
                <a:spcPts val="0"/>
              </a:spcAft>
              <a:buClr>
                <a:schemeClr val="dk1"/>
              </a:buClr>
              <a:buSzPts val="1512"/>
              <a:buFont typeface="Noto Sans Symbols"/>
              <a:buChar char="▪"/>
              <a:defRPr sz="1512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302"/>
              </a:spcBef>
              <a:spcAft>
                <a:spcPts val="0"/>
              </a:spcAft>
              <a:buClr>
                <a:schemeClr val="dk1"/>
              </a:buClr>
              <a:buSzPts val="1512"/>
              <a:buFont typeface="Noto Sans Symbols"/>
              <a:buChar char="▪"/>
              <a:defRPr sz="1512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302"/>
              </a:spcBef>
              <a:spcAft>
                <a:spcPts val="0"/>
              </a:spcAft>
              <a:buClr>
                <a:schemeClr val="dk1"/>
              </a:buClr>
              <a:buSzPts val="1512"/>
              <a:buFont typeface="Noto Sans Symbols"/>
              <a:buChar char="▪"/>
              <a:defRPr sz="1512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09" name="Google Shape;109;p23"/>
          <p:cNvSpPr txBox="1">
            <a:spLocks noGrp="1"/>
          </p:cNvSpPr>
          <p:nvPr>
            <p:ph type="body" idx="16"/>
          </p:nvPr>
        </p:nvSpPr>
        <p:spPr>
          <a:xfrm>
            <a:off x="6948373" y="3582000"/>
            <a:ext cx="3852977" cy="36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457200" lvl="0" indent="-228600" algn="l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400"/>
              <a:buNone/>
              <a:defRPr>
                <a:solidFill>
                  <a:schemeClr val="accent1"/>
                </a:solidFill>
              </a:defRPr>
            </a:lvl1pPr>
            <a:lvl2pPr marL="914400" lvl="1" indent="-342900" algn="l"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▪"/>
              <a:defRPr/>
            </a:lvl6pPr>
            <a:lvl7pPr marL="3200400" lvl="6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▪"/>
              <a:defRPr/>
            </a:lvl7pPr>
            <a:lvl8pPr marL="3657600" lvl="7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▪"/>
              <a:defRPr/>
            </a:lvl8pPr>
            <a:lvl9pPr marL="4114800" lvl="8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▪"/>
              <a:defRPr/>
            </a:lvl9pPr>
          </a:lstStyle>
          <a:p>
            <a:endParaRPr/>
          </a:p>
        </p:txBody>
      </p:sp>
      <p:sp>
        <p:nvSpPr>
          <p:cNvPr id="110" name="Google Shape;110;p23"/>
          <p:cNvSpPr>
            <a:spLocks noGrp="1"/>
          </p:cNvSpPr>
          <p:nvPr>
            <p:ph type="pic" idx="17"/>
          </p:nvPr>
        </p:nvSpPr>
        <p:spPr>
          <a:xfrm>
            <a:off x="6299904" y="3491045"/>
            <a:ext cx="540955" cy="54095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400"/>
              <a:buFont typeface="Arial"/>
              <a:buNone/>
              <a:defRPr sz="14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Char char="•"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Char char="•"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Char char="•"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512"/>
              <a:buFont typeface="Noto Sans Symbols"/>
              <a:buChar char="▪"/>
              <a:defRPr sz="1512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302"/>
              </a:spcBef>
              <a:spcAft>
                <a:spcPts val="0"/>
              </a:spcAft>
              <a:buClr>
                <a:schemeClr val="dk1"/>
              </a:buClr>
              <a:buSzPts val="1512"/>
              <a:buFont typeface="Noto Sans Symbols"/>
              <a:buChar char="▪"/>
              <a:defRPr sz="1512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302"/>
              </a:spcBef>
              <a:spcAft>
                <a:spcPts val="0"/>
              </a:spcAft>
              <a:buClr>
                <a:schemeClr val="dk1"/>
              </a:buClr>
              <a:buSzPts val="1512"/>
              <a:buFont typeface="Noto Sans Symbols"/>
              <a:buChar char="▪"/>
              <a:defRPr sz="1512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302"/>
              </a:spcBef>
              <a:spcAft>
                <a:spcPts val="0"/>
              </a:spcAft>
              <a:buClr>
                <a:schemeClr val="dk1"/>
              </a:buClr>
              <a:buSzPts val="1512"/>
              <a:buFont typeface="Noto Sans Symbols"/>
              <a:buChar char="▪"/>
              <a:defRPr sz="1512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11" name="Google Shape;111;p23"/>
          <p:cNvSpPr txBox="1">
            <a:spLocks noGrp="1"/>
          </p:cNvSpPr>
          <p:nvPr>
            <p:ph type="sldNum" idx="12"/>
          </p:nvPr>
        </p:nvSpPr>
        <p:spPr>
          <a:xfrm>
            <a:off x="180000" y="6178310"/>
            <a:ext cx="360000" cy="12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lvl="0" indent="0" algn="r"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de-DE"/>
              <a:t>‹#›</a:t>
            </a:fld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4037">
          <p15:clr>
            <a:srgbClr val="FBAE40"/>
          </p15:clr>
        </p15:guide>
        <p15:guide id="2" pos="748">
          <p15:clr>
            <a:srgbClr val="FBAE40"/>
          </p15:clr>
        </p15:guide>
        <p15:guide id="3" pos="3515">
          <p15:clr>
            <a:srgbClr val="FBAE40"/>
          </p15:clr>
        </p15:guide>
        <p15:guide id="4" orient="horz" pos="1202">
          <p15:clr>
            <a:srgbClr val="FBAE40"/>
          </p15:clr>
        </p15:guide>
        <p15:guide id="5" orient="horz" pos="1134">
          <p15:clr>
            <a:srgbClr val="FBAE40"/>
          </p15:clr>
        </p15:guide>
        <p15:guide id="6" orient="horz" pos="2540">
          <p15:clr>
            <a:srgbClr val="FBAE40"/>
          </p15:clr>
        </p15:guide>
        <p15:guide id="7" orient="horz" pos="2608">
          <p15:clr>
            <a:srgbClr val="FBAE40"/>
          </p15:clr>
        </p15:guide>
        <p15:guide id="8" pos="6917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ild_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kt 19" hidden="1">
            <a:extLst>
              <a:ext uri="{FF2B5EF4-FFF2-40B4-BE49-F238E27FC236}">
                <a16:creationId xmlns:a16="http://schemas.microsoft.com/office/drawing/2014/main" id="{F7655B72-8208-CE49-AB03-6C921C232DD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7" name="think-cell Folie" r:id="rId5" imgW="7772400" imgH="10058400" progId="TCLayout.ActiveDocument.1">
                  <p:embed/>
                </p:oleObj>
              </mc:Choice>
              <mc:Fallback>
                <p:oleObj name="think-cell Folie" r:id="rId5" imgW="7772400" imgH="10058400" progId="TCLayout.ActiveDocument.1">
                  <p:embed/>
                  <p:pic>
                    <p:nvPicPr>
                      <p:cNvPr id="20" name="Objekt 19" hidden="1">
                        <a:extLst>
                          <a:ext uri="{FF2B5EF4-FFF2-40B4-BE49-F238E27FC236}">
                            <a16:creationId xmlns:a16="http://schemas.microsoft.com/office/drawing/2014/main" id="{F7655B72-8208-CE49-AB03-6C921C232D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Bildplatzhalter 18">
            <a:extLst>
              <a:ext uri="{FF2B5EF4-FFF2-40B4-BE49-F238E27FC236}">
                <a16:creationId xmlns:a16="http://schemas.microsoft.com/office/drawing/2014/main" id="{11D0BC11-3551-2B44-BD76-2E33FF1B7BF0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auto">
          <a:xfrm>
            <a:off x="5292153" y="652063"/>
            <a:ext cx="6251575" cy="5259385"/>
          </a:xfrm>
          <a:custGeom>
            <a:avLst/>
            <a:gdLst>
              <a:gd name="connsiteX0" fmla="*/ 0 w 4775200"/>
              <a:gd name="connsiteY0" fmla="*/ 1460500 h 2921000"/>
              <a:gd name="connsiteX1" fmla="*/ 730250 w 4775200"/>
              <a:gd name="connsiteY1" fmla="*/ 1 h 2921000"/>
              <a:gd name="connsiteX2" fmla="*/ 4044950 w 4775200"/>
              <a:gd name="connsiteY2" fmla="*/ 1 h 2921000"/>
              <a:gd name="connsiteX3" fmla="*/ 4775200 w 4775200"/>
              <a:gd name="connsiteY3" fmla="*/ 1460500 h 2921000"/>
              <a:gd name="connsiteX4" fmla="*/ 4044950 w 4775200"/>
              <a:gd name="connsiteY4" fmla="*/ 2920999 h 2921000"/>
              <a:gd name="connsiteX5" fmla="*/ 730250 w 4775200"/>
              <a:gd name="connsiteY5" fmla="*/ 2920999 h 2921000"/>
              <a:gd name="connsiteX6" fmla="*/ 0 w 4775200"/>
              <a:gd name="connsiteY6" fmla="*/ 1460500 h 2921000"/>
              <a:gd name="connsiteX0" fmla="*/ 0 w 4775200"/>
              <a:gd name="connsiteY0" fmla="*/ 1460499 h 2920998"/>
              <a:gd name="connsiteX1" fmla="*/ 1250950 w 4775200"/>
              <a:gd name="connsiteY1" fmla="*/ 317500 h 2920998"/>
              <a:gd name="connsiteX2" fmla="*/ 4044950 w 4775200"/>
              <a:gd name="connsiteY2" fmla="*/ 0 h 2920998"/>
              <a:gd name="connsiteX3" fmla="*/ 4775200 w 4775200"/>
              <a:gd name="connsiteY3" fmla="*/ 1460499 h 2920998"/>
              <a:gd name="connsiteX4" fmla="*/ 4044950 w 4775200"/>
              <a:gd name="connsiteY4" fmla="*/ 2920998 h 2920998"/>
              <a:gd name="connsiteX5" fmla="*/ 730250 w 4775200"/>
              <a:gd name="connsiteY5" fmla="*/ 2920998 h 2920998"/>
              <a:gd name="connsiteX6" fmla="*/ 0 w 4775200"/>
              <a:gd name="connsiteY6" fmla="*/ 1460499 h 2920998"/>
              <a:gd name="connsiteX0" fmla="*/ 1403350 w 6178550"/>
              <a:gd name="connsiteY0" fmla="*/ 1955799 h 3416298"/>
              <a:gd name="connsiteX1" fmla="*/ 0 w 6178550"/>
              <a:gd name="connsiteY1" fmla="*/ 0 h 3416298"/>
              <a:gd name="connsiteX2" fmla="*/ 5448300 w 6178550"/>
              <a:gd name="connsiteY2" fmla="*/ 495300 h 3416298"/>
              <a:gd name="connsiteX3" fmla="*/ 6178550 w 6178550"/>
              <a:gd name="connsiteY3" fmla="*/ 1955799 h 3416298"/>
              <a:gd name="connsiteX4" fmla="*/ 5448300 w 6178550"/>
              <a:gd name="connsiteY4" fmla="*/ 3416298 h 3416298"/>
              <a:gd name="connsiteX5" fmla="*/ 2133600 w 6178550"/>
              <a:gd name="connsiteY5" fmla="*/ 3416298 h 3416298"/>
              <a:gd name="connsiteX6" fmla="*/ 1403350 w 6178550"/>
              <a:gd name="connsiteY6" fmla="*/ 1955799 h 3416298"/>
              <a:gd name="connsiteX0" fmla="*/ 234950 w 6178550"/>
              <a:gd name="connsiteY0" fmla="*/ 3187699 h 3416298"/>
              <a:gd name="connsiteX1" fmla="*/ 0 w 6178550"/>
              <a:gd name="connsiteY1" fmla="*/ 0 h 3416298"/>
              <a:gd name="connsiteX2" fmla="*/ 5448300 w 6178550"/>
              <a:gd name="connsiteY2" fmla="*/ 495300 h 3416298"/>
              <a:gd name="connsiteX3" fmla="*/ 6178550 w 6178550"/>
              <a:gd name="connsiteY3" fmla="*/ 1955799 h 3416298"/>
              <a:gd name="connsiteX4" fmla="*/ 5448300 w 6178550"/>
              <a:gd name="connsiteY4" fmla="*/ 3416298 h 3416298"/>
              <a:gd name="connsiteX5" fmla="*/ 2133600 w 6178550"/>
              <a:gd name="connsiteY5" fmla="*/ 3416298 h 3416298"/>
              <a:gd name="connsiteX6" fmla="*/ 234950 w 6178550"/>
              <a:gd name="connsiteY6" fmla="*/ 3187699 h 3416298"/>
              <a:gd name="connsiteX0" fmla="*/ 234950 w 5607050"/>
              <a:gd name="connsiteY0" fmla="*/ 3187699 h 3416298"/>
              <a:gd name="connsiteX1" fmla="*/ 0 w 5607050"/>
              <a:gd name="connsiteY1" fmla="*/ 0 h 3416298"/>
              <a:gd name="connsiteX2" fmla="*/ 5448300 w 5607050"/>
              <a:gd name="connsiteY2" fmla="*/ 495300 h 3416298"/>
              <a:gd name="connsiteX3" fmla="*/ 5607050 w 5607050"/>
              <a:gd name="connsiteY3" fmla="*/ 1028699 h 3416298"/>
              <a:gd name="connsiteX4" fmla="*/ 5448300 w 5607050"/>
              <a:gd name="connsiteY4" fmla="*/ 3416298 h 3416298"/>
              <a:gd name="connsiteX5" fmla="*/ 2133600 w 5607050"/>
              <a:gd name="connsiteY5" fmla="*/ 3416298 h 3416298"/>
              <a:gd name="connsiteX6" fmla="*/ 234950 w 5607050"/>
              <a:gd name="connsiteY6" fmla="*/ 3187699 h 3416298"/>
              <a:gd name="connsiteX0" fmla="*/ 234950 w 5607050"/>
              <a:gd name="connsiteY0" fmla="*/ 3187699 h 3695698"/>
              <a:gd name="connsiteX1" fmla="*/ 0 w 5607050"/>
              <a:gd name="connsiteY1" fmla="*/ 0 h 3695698"/>
              <a:gd name="connsiteX2" fmla="*/ 5448300 w 5607050"/>
              <a:gd name="connsiteY2" fmla="*/ 495300 h 3695698"/>
              <a:gd name="connsiteX3" fmla="*/ 5607050 w 5607050"/>
              <a:gd name="connsiteY3" fmla="*/ 1028699 h 3695698"/>
              <a:gd name="connsiteX4" fmla="*/ 2743200 w 5607050"/>
              <a:gd name="connsiteY4" fmla="*/ 3695698 h 3695698"/>
              <a:gd name="connsiteX5" fmla="*/ 2133600 w 5607050"/>
              <a:gd name="connsiteY5" fmla="*/ 3416298 h 3695698"/>
              <a:gd name="connsiteX6" fmla="*/ 234950 w 5607050"/>
              <a:gd name="connsiteY6" fmla="*/ 3187699 h 3695698"/>
              <a:gd name="connsiteX0" fmla="*/ 234950 w 5607050"/>
              <a:gd name="connsiteY0" fmla="*/ 3187699 h 3936998"/>
              <a:gd name="connsiteX1" fmla="*/ 0 w 5607050"/>
              <a:gd name="connsiteY1" fmla="*/ 0 h 3936998"/>
              <a:gd name="connsiteX2" fmla="*/ 5448300 w 5607050"/>
              <a:gd name="connsiteY2" fmla="*/ 495300 h 3936998"/>
              <a:gd name="connsiteX3" fmla="*/ 5607050 w 5607050"/>
              <a:gd name="connsiteY3" fmla="*/ 1028699 h 3936998"/>
              <a:gd name="connsiteX4" fmla="*/ 2743200 w 5607050"/>
              <a:gd name="connsiteY4" fmla="*/ 3695698 h 3936998"/>
              <a:gd name="connsiteX5" fmla="*/ 2095500 w 5607050"/>
              <a:gd name="connsiteY5" fmla="*/ 3936998 h 3936998"/>
              <a:gd name="connsiteX6" fmla="*/ 234950 w 5607050"/>
              <a:gd name="connsiteY6" fmla="*/ 3187699 h 3936998"/>
              <a:gd name="connsiteX0" fmla="*/ 234950 w 5607050"/>
              <a:gd name="connsiteY0" fmla="*/ 3187699 h 4610098"/>
              <a:gd name="connsiteX1" fmla="*/ 0 w 5607050"/>
              <a:gd name="connsiteY1" fmla="*/ 0 h 4610098"/>
              <a:gd name="connsiteX2" fmla="*/ 5448300 w 5607050"/>
              <a:gd name="connsiteY2" fmla="*/ 495300 h 4610098"/>
              <a:gd name="connsiteX3" fmla="*/ 5607050 w 5607050"/>
              <a:gd name="connsiteY3" fmla="*/ 1028699 h 4610098"/>
              <a:gd name="connsiteX4" fmla="*/ 2743200 w 5607050"/>
              <a:gd name="connsiteY4" fmla="*/ 3695698 h 4610098"/>
              <a:gd name="connsiteX5" fmla="*/ 2193925 w 5607050"/>
              <a:gd name="connsiteY5" fmla="*/ 4610098 h 4610098"/>
              <a:gd name="connsiteX6" fmla="*/ 234950 w 5607050"/>
              <a:gd name="connsiteY6" fmla="*/ 3187699 h 4610098"/>
              <a:gd name="connsiteX0" fmla="*/ 234950 w 5607050"/>
              <a:gd name="connsiteY0" fmla="*/ 3187699 h 4629148"/>
              <a:gd name="connsiteX1" fmla="*/ 0 w 5607050"/>
              <a:gd name="connsiteY1" fmla="*/ 0 h 4629148"/>
              <a:gd name="connsiteX2" fmla="*/ 5448300 w 5607050"/>
              <a:gd name="connsiteY2" fmla="*/ 495300 h 4629148"/>
              <a:gd name="connsiteX3" fmla="*/ 5607050 w 5607050"/>
              <a:gd name="connsiteY3" fmla="*/ 1028699 h 4629148"/>
              <a:gd name="connsiteX4" fmla="*/ 2743200 w 5607050"/>
              <a:gd name="connsiteY4" fmla="*/ 3695698 h 4629148"/>
              <a:gd name="connsiteX5" fmla="*/ 2187575 w 5607050"/>
              <a:gd name="connsiteY5" fmla="*/ 4629148 h 4629148"/>
              <a:gd name="connsiteX6" fmla="*/ 234950 w 5607050"/>
              <a:gd name="connsiteY6" fmla="*/ 3187699 h 4629148"/>
              <a:gd name="connsiteX0" fmla="*/ 234950 w 5607050"/>
              <a:gd name="connsiteY0" fmla="*/ 3187699 h 4673598"/>
              <a:gd name="connsiteX1" fmla="*/ 0 w 5607050"/>
              <a:gd name="connsiteY1" fmla="*/ 0 h 4673598"/>
              <a:gd name="connsiteX2" fmla="*/ 5448300 w 5607050"/>
              <a:gd name="connsiteY2" fmla="*/ 495300 h 4673598"/>
              <a:gd name="connsiteX3" fmla="*/ 5607050 w 5607050"/>
              <a:gd name="connsiteY3" fmla="*/ 1028699 h 4673598"/>
              <a:gd name="connsiteX4" fmla="*/ 2933700 w 5607050"/>
              <a:gd name="connsiteY4" fmla="*/ 4673598 h 4673598"/>
              <a:gd name="connsiteX5" fmla="*/ 2187575 w 5607050"/>
              <a:gd name="connsiteY5" fmla="*/ 4629148 h 4673598"/>
              <a:gd name="connsiteX6" fmla="*/ 234950 w 5607050"/>
              <a:gd name="connsiteY6" fmla="*/ 3187699 h 4673598"/>
              <a:gd name="connsiteX0" fmla="*/ 234950 w 5448300"/>
              <a:gd name="connsiteY0" fmla="*/ 3187699 h 4673598"/>
              <a:gd name="connsiteX1" fmla="*/ 0 w 5448300"/>
              <a:gd name="connsiteY1" fmla="*/ 0 h 4673598"/>
              <a:gd name="connsiteX2" fmla="*/ 5448300 w 5448300"/>
              <a:gd name="connsiteY2" fmla="*/ 495300 h 4673598"/>
              <a:gd name="connsiteX3" fmla="*/ 5092700 w 5448300"/>
              <a:gd name="connsiteY3" fmla="*/ 2152649 h 4673598"/>
              <a:gd name="connsiteX4" fmla="*/ 2933700 w 5448300"/>
              <a:gd name="connsiteY4" fmla="*/ 4673598 h 4673598"/>
              <a:gd name="connsiteX5" fmla="*/ 2187575 w 5448300"/>
              <a:gd name="connsiteY5" fmla="*/ 4629148 h 4673598"/>
              <a:gd name="connsiteX6" fmla="*/ 234950 w 5448300"/>
              <a:gd name="connsiteY6" fmla="*/ 3187699 h 4673598"/>
              <a:gd name="connsiteX0" fmla="*/ 234950 w 5448300"/>
              <a:gd name="connsiteY0" fmla="*/ 3187699 h 4673598"/>
              <a:gd name="connsiteX1" fmla="*/ 0 w 5448300"/>
              <a:gd name="connsiteY1" fmla="*/ 0 h 4673598"/>
              <a:gd name="connsiteX2" fmla="*/ 5448300 w 5448300"/>
              <a:gd name="connsiteY2" fmla="*/ 495300 h 4673598"/>
              <a:gd name="connsiteX3" fmla="*/ 4949825 w 5448300"/>
              <a:gd name="connsiteY3" fmla="*/ 3041649 h 4673598"/>
              <a:gd name="connsiteX4" fmla="*/ 2933700 w 5448300"/>
              <a:gd name="connsiteY4" fmla="*/ 4673598 h 4673598"/>
              <a:gd name="connsiteX5" fmla="*/ 2187575 w 5448300"/>
              <a:gd name="connsiteY5" fmla="*/ 4629148 h 4673598"/>
              <a:gd name="connsiteX6" fmla="*/ 234950 w 5448300"/>
              <a:gd name="connsiteY6" fmla="*/ 3187699 h 4673598"/>
              <a:gd name="connsiteX0" fmla="*/ 234950 w 4956175"/>
              <a:gd name="connsiteY0" fmla="*/ 4095749 h 5581648"/>
              <a:gd name="connsiteX1" fmla="*/ 0 w 4956175"/>
              <a:gd name="connsiteY1" fmla="*/ 908050 h 5581648"/>
              <a:gd name="connsiteX2" fmla="*/ 4956175 w 4956175"/>
              <a:gd name="connsiteY2" fmla="*/ 0 h 5581648"/>
              <a:gd name="connsiteX3" fmla="*/ 4949825 w 4956175"/>
              <a:gd name="connsiteY3" fmla="*/ 3949699 h 5581648"/>
              <a:gd name="connsiteX4" fmla="*/ 2933700 w 4956175"/>
              <a:gd name="connsiteY4" fmla="*/ 5581648 h 5581648"/>
              <a:gd name="connsiteX5" fmla="*/ 2187575 w 4956175"/>
              <a:gd name="connsiteY5" fmla="*/ 5537198 h 5581648"/>
              <a:gd name="connsiteX6" fmla="*/ 234950 w 4956175"/>
              <a:gd name="connsiteY6" fmla="*/ 4095749 h 5581648"/>
              <a:gd name="connsiteX0" fmla="*/ 1355725 w 6076950"/>
              <a:gd name="connsiteY0" fmla="*/ 4095749 h 5581648"/>
              <a:gd name="connsiteX1" fmla="*/ 0 w 6076950"/>
              <a:gd name="connsiteY1" fmla="*/ 1631950 h 5581648"/>
              <a:gd name="connsiteX2" fmla="*/ 6076950 w 6076950"/>
              <a:gd name="connsiteY2" fmla="*/ 0 h 5581648"/>
              <a:gd name="connsiteX3" fmla="*/ 6070600 w 6076950"/>
              <a:gd name="connsiteY3" fmla="*/ 3949699 h 5581648"/>
              <a:gd name="connsiteX4" fmla="*/ 4054475 w 6076950"/>
              <a:gd name="connsiteY4" fmla="*/ 5581648 h 5581648"/>
              <a:gd name="connsiteX5" fmla="*/ 3308350 w 6076950"/>
              <a:gd name="connsiteY5" fmla="*/ 5537198 h 5581648"/>
              <a:gd name="connsiteX6" fmla="*/ 1355725 w 6076950"/>
              <a:gd name="connsiteY6" fmla="*/ 4095749 h 5581648"/>
              <a:gd name="connsiteX0" fmla="*/ 288925 w 6076950"/>
              <a:gd name="connsiteY0" fmla="*/ 2835274 h 5581648"/>
              <a:gd name="connsiteX1" fmla="*/ 0 w 6076950"/>
              <a:gd name="connsiteY1" fmla="*/ 1631950 h 5581648"/>
              <a:gd name="connsiteX2" fmla="*/ 6076950 w 6076950"/>
              <a:gd name="connsiteY2" fmla="*/ 0 h 5581648"/>
              <a:gd name="connsiteX3" fmla="*/ 6070600 w 6076950"/>
              <a:gd name="connsiteY3" fmla="*/ 3949699 h 5581648"/>
              <a:gd name="connsiteX4" fmla="*/ 4054475 w 6076950"/>
              <a:gd name="connsiteY4" fmla="*/ 5581648 h 5581648"/>
              <a:gd name="connsiteX5" fmla="*/ 3308350 w 6076950"/>
              <a:gd name="connsiteY5" fmla="*/ 5537198 h 5581648"/>
              <a:gd name="connsiteX6" fmla="*/ 288925 w 6076950"/>
              <a:gd name="connsiteY6" fmla="*/ 2835274 h 5581648"/>
              <a:gd name="connsiteX0" fmla="*/ 0 w 6207125"/>
              <a:gd name="connsiteY0" fmla="*/ 2101849 h 5581648"/>
              <a:gd name="connsiteX1" fmla="*/ 130175 w 6207125"/>
              <a:gd name="connsiteY1" fmla="*/ 1631950 h 5581648"/>
              <a:gd name="connsiteX2" fmla="*/ 6207125 w 6207125"/>
              <a:gd name="connsiteY2" fmla="*/ 0 h 5581648"/>
              <a:gd name="connsiteX3" fmla="*/ 6200775 w 6207125"/>
              <a:gd name="connsiteY3" fmla="*/ 3949699 h 5581648"/>
              <a:gd name="connsiteX4" fmla="*/ 4184650 w 6207125"/>
              <a:gd name="connsiteY4" fmla="*/ 5581648 h 5581648"/>
              <a:gd name="connsiteX5" fmla="*/ 3438525 w 6207125"/>
              <a:gd name="connsiteY5" fmla="*/ 5537198 h 5581648"/>
              <a:gd name="connsiteX6" fmla="*/ 0 w 6207125"/>
              <a:gd name="connsiteY6" fmla="*/ 2101849 h 5581648"/>
              <a:gd name="connsiteX0" fmla="*/ 0 w 6235700"/>
              <a:gd name="connsiteY0" fmla="*/ 1630361 h 5110160"/>
              <a:gd name="connsiteX1" fmla="*/ 130175 w 6235700"/>
              <a:gd name="connsiteY1" fmla="*/ 1160462 h 5110160"/>
              <a:gd name="connsiteX2" fmla="*/ 6235700 w 6235700"/>
              <a:gd name="connsiteY2" fmla="*/ 0 h 5110160"/>
              <a:gd name="connsiteX3" fmla="*/ 6200775 w 6235700"/>
              <a:gd name="connsiteY3" fmla="*/ 3478211 h 5110160"/>
              <a:gd name="connsiteX4" fmla="*/ 4184650 w 6235700"/>
              <a:gd name="connsiteY4" fmla="*/ 5110160 h 5110160"/>
              <a:gd name="connsiteX5" fmla="*/ 3438525 w 6235700"/>
              <a:gd name="connsiteY5" fmla="*/ 5065710 h 5110160"/>
              <a:gd name="connsiteX6" fmla="*/ 0 w 6235700"/>
              <a:gd name="connsiteY6" fmla="*/ 1630361 h 5110160"/>
              <a:gd name="connsiteX0" fmla="*/ 0 w 6235700"/>
              <a:gd name="connsiteY0" fmla="*/ 1630361 h 5110160"/>
              <a:gd name="connsiteX1" fmla="*/ 130175 w 6235700"/>
              <a:gd name="connsiteY1" fmla="*/ 1160462 h 5110160"/>
              <a:gd name="connsiteX2" fmla="*/ 6235700 w 6235700"/>
              <a:gd name="connsiteY2" fmla="*/ 0 h 5110160"/>
              <a:gd name="connsiteX3" fmla="*/ 6200775 w 6235700"/>
              <a:gd name="connsiteY3" fmla="*/ 3478211 h 5110160"/>
              <a:gd name="connsiteX4" fmla="*/ 4184650 w 6235700"/>
              <a:gd name="connsiteY4" fmla="*/ 5110160 h 5110160"/>
              <a:gd name="connsiteX5" fmla="*/ 3438525 w 6235700"/>
              <a:gd name="connsiteY5" fmla="*/ 5065710 h 5110160"/>
              <a:gd name="connsiteX6" fmla="*/ 0 w 6235700"/>
              <a:gd name="connsiteY6" fmla="*/ 1630361 h 5110160"/>
              <a:gd name="connsiteX0" fmla="*/ 0 w 6235700"/>
              <a:gd name="connsiteY0" fmla="*/ 1630361 h 5110160"/>
              <a:gd name="connsiteX1" fmla="*/ 130175 w 6235700"/>
              <a:gd name="connsiteY1" fmla="*/ 803275 h 5110160"/>
              <a:gd name="connsiteX2" fmla="*/ 6235700 w 6235700"/>
              <a:gd name="connsiteY2" fmla="*/ 0 h 5110160"/>
              <a:gd name="connsiteX3" fmla="*/ 6200775 w 6235700"/>
              <a:gd name="connsiteY3" fmla="*/ 3478211 h 5110160"/>
              <a:gd name="connsiteX4" fmla="*/ 4184650 w 6235700"/>
              <a:gd name="connsiteY4" fmla="*/ 5110160 h 5110160"/>
              <a:gd name="connsiteX5" fmla="*/ 3438525 w 6235700"/>
              <a:gd name="connsiteY5" fmla="*/ 5065710 h 5110160"/>
              <a:gd name="connsiteX6" fmla="*/ 0 w 6235700"/>
              <a:gd name="connsiteY6" fmla="*/ 1630361 h 5110160"/>
              <a:gd name="connsiteX0" fmla="*/ 0 w 6264275"/>
              <a:gd name="connsiteY0" fmla="*/ 1244598 h 5110160"/>
              <a:gd name="connsiteX1" fmla="*/ 158750 w 6264275"/>
              <a:gd name="connsiteY1" fmla="*/ 803275 h 5110160"/>
              <a:gd name="connsiteX2" fmla="*/ 6264275 w 6264275"/>
              <a:gd name="connsiteY2" fmla="*/ 0 h 5110160"/>
              <a:gd name="connsiteX3" fmla="*/ 6229350 w 6264275"/>
              <a:gd name="connsiteY3" fmla="*/ 3478211 h 5110160"/>
              <a:gd name="connsiteX4" fmla="*/ 4213225 w 6264275"/>
              <a:gd name="connsiteY4" fmla="*/ 5110160 h 5110160"/>
              <a:gd name="connsiteX5" fmla="*/ 3467100 w 6264275"/>
              <a:gd name="connsiteY5" fmla="*/ 5065710 h 5110160"/>
              <a:gd name="connsiteX6" fmla="*/ 0 w 6264275"/>
              <a:gd name="connsiteY6" fmla="*/ 1244598 h 5110160"/>
              <a:gd name="connsiteX0" fmla="*/ 0 w 6270625"/>
              <a:gd name="connsiteY0" fmla="*/ 1225548 h 5110160"/>
              <a:gd name="connsiteX1" fmla="*/ 165100 w 6270625"/>
              <a:gd name="connsiteY1" fmla="*/ 803275 h 5110160"/>
              <a:gd name="connsiteX2" fmla="*/ 6270625 w 6270625"/>
              <a:gd name="connsiteY2" fmla="*/ 0 h 5110160"/>
              <a:gd name="connsiteX3" fmla="*/ 6235700 w 6270625"/>
              <a:gd name="connsiteY3" fmla="*/ 3478211 h 5110160"/>
              <a:gd name="connsiteX4" fmla="*/ 4219575 w 6270625"/>
              <a:gd name="connsiteY4" fmla="*/ 5110160 h 5110160"/>
              <a:gd name="connsiteX5" fmla="*/ 3473450 w 6270625"/>
              <a:gd name="connsiteY5" fmla="*/ 5065710 h 5110160"/>
              <a:gd name="connsiteX6" fmla="*/ 0 w 6270625"/>
              <a:gd name="connsiteY6" fmla="*/ 1225548 h 5110160"/>
              <a:gd name="connsiteX0" fmla="*/ 0 w 6270625"/>
              <a:gd name="connsiteY0" fmla="*/ 1225548 h 5110160"/>
              <a:gd name="connsiteX1" fmla="*/ 190500 w 6270625"/>
              <a:gd name="connsiteY1" fmla="*/ 777875 h 5110160"/>
              <a:gd name="connsiteX2" fmla="*/ 6270625 w 6270625"/>
              <a:gd name="connsiteY2" fmla="*/ 0 h 5110160"/>
              <a:gd name="connsiteX3" fmla="*/ 6235700 w 6270625"/>
              <a:gd name="connsiteY3" fmla="*/ 3478211 h 5110160"/>
              <a:gd name="connsiteX4" fmla="*/ 4219575 w 6270625"/>
              <a:gd name="connsiteY4" fmla="*/ 5110160 h 5110160"/>
              <a:gd name="connsiteX5" fmla="*/ 3473450 w 6270625"/>
              <a:gd name="connsiteY5" fmla="*/ 5065710 h 5110160"/>
              <a:gd name="connsiteX6" fmla="*/ 0 w 6270625"/>
              <a:gd name="connsiteY6" fmla="*/ 1225548 h 5110160"/>
              <a:gd name="connsiteX0" fmla="*/ 0 w 6270625"/>
              <a:gd name="connsiteY0" fmla="*/ 1225548 h 5110160"/>
              <a:gd name="connsiteX1" fmla="*/ 190500 w 6270625"/>
              <a:gd name="connsiteY1" fmla="*/ 777875 h 5110160"/>
              <a:gd name="connsiteX2" fmla="*/ 6270625 w 6270625"/>
              <a:gd name="connsiteY2" fmla="*/ 0 h 5110160"/>
              <a:gd name="connsiteX3" fmla="*/ 6235700 w 6270625"/>
              <a:gd name="connsiteY3" fmla="*/ 3478211 h 5110160"/>
              <a:gd name="connsiteX4" fmla="*/ 4219575 w 6270625"/>
              <a:gd name="connsiteY4" fmla="*/ 5110160 h 5110160"/>
              <a:gd name="connsiteX5" fmla="*/ 2962275 w 6270625"/>
              <a:gd name="connsiteY5" fmla="*/ 5078410 h 5110160"/>
              <a:gd name="connsiteX6" fmla="*/ 0 w 6270625"/>
              <a:gd name="connsiteY6" fmla="*/ 1225548 h 5110160"/>
              <a:gd name="connsiteX0" fmla="*/ 0 w 6270625"/>
              <a:gd name="connsiteY0" fmla="*/ 1225548 h 5218110"/>
              <a:gd name="connsiteX1" fmla="*/ 190500 w 6270625"/>
              <a:gd name="connsiteY1" fmla="*/ 777875 h 5218110"/>
              <a:gd name="connsiteX2" fmla="*/ 6270625 w 6270625"/>
              <a:gd name="connsiteY2" fmla="*/ 0 h 5218110"/>
              <a:gd name="connsiteX3" fmla="*/ 6235700 w 6270625"/>
              <a:gd name="connsiteY3" fmla="*/ 3478211 h 5218110"/>
              <a:gd name="connsiteX4" fmla="*/ 3698875 w 6270625"/>
              <a:gd name="connsiteY4" fmla="*/ 5218110 h 5218110"/>
              <a:gd name="connsiteX5" fmla="*/ 2962275 w 6270625"/>
              <a:gd name="connsiteY5" fmla="*/ 5078410 h 5218110"/>
              <a:gd name="connsiteX6" fmla="*/ 0 w 6270625"/>
              <a:gd name="connsiteY6" fmla="*/ 1225548 h 5218110"/>
              <a:gd name="connsiteX0" fmla="*/ 0 w 6270625"/>
              <a:gd name="connsiteY0" fmla="*/ 1225548 h 5218110"/>
              <a:gd name="connsiteX1" fmla="*/ 190500 w 6270625"/>
              <a:gd name="connsiteY1" fmla="*/ 777875 h 5218110"/>
              <a:gd name="connsiteX2" fmla="*/ 6270625 w 6270625"/>
              <a:gd name="connsiteY2" fmla="*/ 0 h 5218110"/>
              <a:gd name="connsiteX3" fmla="*/ 6238875 w 6270625"/>
              <a:gd name="connsiteY3" fmla="*/ 3646486 h 5218110"/>
              <a:gd name="connsiteX4" fmla="*/ 3698875 w 6270625"/>
              <a:gd name="connsiteY4" fmla="*/ 5218110 h 5218110"/>
              <a:gd name="connsiteX5" fmla="*/ 2962275 w 6270625"/>
              <a:gd name="connsiteY5" fmla="*/ 5078410 h 5218110"/>
              <a:gd name="connsiteX6" fmla="*/ 0 w 6270625"/>
              <a:gd name="connsiteY6" fmla="*/ 1225548 h 5218110"/>
              <a:gd name="connsiteX0" fmla="*/ 0 w 6251575"/>
              <a:gd name="connsiteY0" fmla="*/ 1266823 h 5259385"/>
              <a:gd name="connsiteX1" fmla="*/ 190500 w 6251575"/>
              <a:gd name="connsiteY1" fmla="*/ 819150 h 5259385"/>
              <a:gd name="connsiteX2" fmla="*/ 6251575 w 6251575"/>
              <a:gd name="connsiteY2" fmla="*/ 0 h 5259385"/>
              <a:gd name="connsiteX3" fmla="*/ 6238875 w 6251575"/>
              <a:gd name="connsiteY3" fmla="*/ 3687761 h 5259385"/>
              <a:gd name="connsiteX4" fmla="*/ 3698875 w 6251575"/>
              <a:gd name="connsiteY4" fmla="*/ 5259385 h 5259385"/>
              <a:gd name="connsiteX5" fmla="*/ 2962275 w 6251575"/>
              <a:gd name="connsiteY5" fmla="*/ 5119685 h 5259385"/>
              <a:gd name="connsiteX6" fmla="*/ 0 w 6251575"/>
              <a:gd name="connsiteY6" fmla="*/ 1266823 h 5259385"/>
              <a:gd name="connsiteX0" fmla="*/ 6251575 w 6343015"/>
              <a:gd name="connsiteY0" fmla="*/ 0 h 5259385"/>
              <a:gd name="connsiteX1" fmla="*/ 6238875 w 6343015"/>
              <a:gd name="connsiteY1" fmla="*/ 3687761 h 5259385"/>
              <a:gd name="connsiteX2" fmla="*/ 3698875 w 6343015"/>
              <a:gd name="connsiteY2" fmla="*/ 5259385 h 5259385"/>
              <a:gd name="connsiteX3" fmla="*/ 2962275 w 6343015"/>
              <a:gd name="connsiteY3" fmla="*/ 5119685 h 5259385"/>
              <a:gd name="connsiteX4" fmla="*/ 0 w 6343015"/>
              <a:gd name="connsiteY4" fmla="*/ 1266823 h 5259385"/>
              <a:gd name="connsiteX5" fmla="*/ 190500 w 6343015"/>
              <a:gd name="connsiteY5" fmla="*/ 819150 h 5259385"/>
              <a:gd name="connsiteX6" fmla="*/ 6343015 w 6343015"/>
              <a:gd name="connsiteY6" fmla="*/ 91440 h 5259385"/>
              <a:gd name="connsiteX0" fmla="*/ 6251575 w 6251575"/>
              <a:gd name="connsiteY0" fmla="*/ 0 h 5259385"/>
              <a:gd name="connsiteX1" fmla="*/ 6238875 w 6251575"/>
              <a:gd name="connsiteY1" fmla="*/ 3687761 h 5259385"/>
              <a:gd name="connsiteX2" fmla="*/ 3698875 w 6251575"/>
              <a:gd name="connsiteY2" fmla="*/ 5259385 h 5259385"/>
              <a:gd name="connsiteX3" fmla="*/ 2962275 w 6251575"/>
              <a:gd name="connsiteY3" fmla="*/ 5119685 h 5259385"/>
              <a:gd name="connsiteX4" fmla="*/ 0 w 6251575"/>
              <a:gd name="connsiteY4" fmla="*/ 1266823 h 5259385"/>
              <a:gd name="connsiteX5" fmla="*/ 190500 w 6251575"/>
              <a:gd name="connsiteY5" fmla="*/ 819150 h 5259385"/>
              <a:gd name="connsiteX0" fmla="*/ 6251575 w 6251575"/>
              <a:gd name="connsiteY0" fmla="*/ 0 h 5259385"/>
              <a:gd name="connsiteX1" fmla="*/ 6238875 w 6251575"/>
              <a:gd name="connsiteY1" fmla="*/ 3687761 h 5259385"/>
              <a:gd name="connsiteX2" fmla="*/ 3698875 w 6251575"/>
              <a:gd name="connsiteY2" fmla="*/ 5259385 h 5259385"/>
              <a:gd name="connsiteX3" fmla="*/ 2962275 w 6251575"/>
              <a:gd name="connsiteY3" fmla="*/ 5119685 h 5259385"/>
              <a:gd name="connsiteX4" fmla="*/ 0 w 6251575"/>
              <a:gd name="connsiteY4" fmla="*/ 1266823 h 5259385"/>
              <a:gd name="connsiteX5" fmla="*/ 190500 w 6251575"/>
              <a:gd name="connsiteY5" fmla="*/ 819150 h 5259385"/>
              <a:gd name="connsiteX6" fmla="*/ 6251575 w 6251575"/>
              <a:gd name="connsiteY6" fmla="*/ 0 h 5259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251575" h="5259385">
                <a:moveTo>
                  <a:pt x="6251575" y="0"/>
                </a:moveTo>
                <a:cubicBezTo>
                  <a:pt x="6249458" y="1316566"/>
                  <a:pt x="6240992" y="2371195"/>
                  <a:pt x="6238875" y="3687761"/>
                </a:cubicBezTo>
                <a:lnTo>
                  <a:pt x="3698875" y="5259385"/>
                </a:lnTo>
                <a:lnTo>
                  <a:pt x="2962275" y="5119685"/>
                </a:lnTo>
                <a:lnTo>
                  <a:pt x="0" y="1266823"/>
                </a:lnTo>
                <a:lnTo>
                  <a:pt x="190500" y="819150"/>
                </a:lnTo>
                <a:lnTo>
                  <a:pt x="6251575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19139" y="179388"/>
            <a:ext cx="10440986" cy="433387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 dirty="0"/>
              <a:t>Actiontitl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720479" y="828675"/>
            <a:ext cx="10439646" cy="214313"/>
          </a:xfrm>
        </p:spPr>
        <p:txBody>
          <a:bodyPr anchor="t" anchorCtr="0"/>
          <a:lstStyle>
            <a:lvl1pPr marL="0" indent="0">
              <a:buNone/>
              <a:defRPr sz="160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 err="1"/>
              <a:t>Subtitle</a:t>
            </a:r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D03ADBD2-E758-4B45-BD74-3549F1F35C5A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>
                <a:solidFill>
                  <a:srgbClr val="009EE0"/>
                </a:solidFill>
              </a:rPr>
              <a:t>Kandidatur V IM | Martin Kühner | 14.10.19</a:t>
            </a:r>
          </a:p>
        </p:txBody>
      </p:sp>
      <p:sp>
        <p:nvSpPr>
          <p:cNvPr id="8" name="Textplatzhalter 5">
            <a:extLst>
              <a:ext uri="{FF2B5EF4-FFF2-40B4-BE49-F238E27FC236}">
                <a16:creationId xmlns:a16="http://schemas.microsoft.com/office/drawing/2014/main" id="{46002D2F-13EB-4542-9040-9F395F3AB41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19999" y="5761038"/>
            <a:ext cx="10440126" cy="179387"/>
          </a:xfrm>
        </p:spPr>
        <p:txBody>
          <a:bodyPr anchor="b"/>
          <a:lstStyle>
            <a:lvl1pPr algn="l">
              <a:buNone/>
              <a:defRPr sz="900" b="0" baseline="0">
                <a:latin typeface="+mn-lt"/>
              </a:defRPr>
            </a:lvl1pPr>
            <a:lvl2pPr>
              <a:defRPr sz="1039">
                <a:latin typeface="+mn-lt"/>
              </a:defRPr>
            </a:lvl2pPr>
            <a:lvl3pPr>
              <a:defRPr sz="1039">
                <a:latin typeface="+mn-lt"/>
              </a:defRPr>
            </a:lvl3pPr>
            <a:lvl4pPr>
              <a:defRPr sz="1039">
                <a:latin typeface="+mn-lt"/>
              </a:defRPr>
            </a:lvl4pPr>
            <a:lvl5pPr>
              <a:defRPr sz="1039">
                <a:latin typeface="+mn-lt"/>
              </a:defRPr>
            </a:lvl5pPr>
          </a:lstStyle>
          <a:p>
            <a:pPr lvl="0"/>
            <a:r>
              <a:rPr lang="de-DE" dirty="0"/>
              <a:t>Quelle oder Fußzeile einfügen</a:t>
            </a:r>
          </a:p>
        </p:txBody>
      </p:sp>
      <p:sp>
        <p:nvSpPr>
          <p:cNvPr id="17" name="Rectangle 3">
            <a:extLst>
              <a:ext uri="{FF2B5EF4-FFF2-40B4-BE49-F238E27FC236}">
                <a16:creationId xmlns:a16="http://schemas.microsoft.com/office/drawing/2014/main" id="{4B360D4F-4693-6E4D-AE3B-6B4F3E407ED7}"/>
              </a:ext>
            </a:extLst>
          </p:cNvPr>
          <p:cNvSpPr>
            <a:spLocks noGrp="1" noChangeArrowheads="1"/>
          </p:cNvSpPr>
          <p:nvPr>
            <p:ph idx="1" hasCustomPrompt="1"/>
            <p:custDataLst>
              <p:tags r:id="rId3"/>
            </p:custDataLst>
          </p:nvPr>
        </p:nvSpPr>
        <p:spPr bwMode="auto">
          <a:xfrm>
            <a:off x="719139" y="1258888"/>
            <a:ext cx="5039765" cy="4501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indent="0">
              <a:buNone/>
              <a:defRPr/>
            </a:lvl1pPr>
            <a:lvl2pPr marL="417446" indent="0">
              <a:buNone/>
              <a:defRPr/>
            </a:lvl2pPr>
            <a:lvl3pPr marL="863809" indent="0">
              <a:buNone/>
              <a:defRPr/>
            </a:lvl3pPr>
            <a:lvl4pPr marL="1295716" indent="0">
              <a:buNone/>
              <a:defRPr/>
            </a:lvl4pPr>
            <a:lvl5pPr marL="1727619" indent="0">
              <a:buNone/>
              <a:defRPr/>
            </a:lvl5pPr>
          </a:lstStyle>
          <a:p>
            <a:pPr lvl="0"/>
            <a:r>
              <a:rPr lang="de-DE" dirty="0"/>
              <a:t>Bild und Text einfügen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8D41870-DC9E-7F4C-A7EC-94BAC3DE52E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B2EFE93-C052-4444-B715-0E5F5EDD2462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8094016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_li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4AA946D4-9CEF-E94A-9FE4-9B667B0E870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1" name="think-cell Folie" r:id="rId4" imgW="7772400" imgH="10058400" progId="TCLayout.ActiveDocument.1">
                  <p:embed/>
                </p:oleObj>
              </mc:Choice>
              <mc:Fallback>
                <p:oleObj name="think-cell Folie" r:id="rId4" imgW="7772400" imgH="10058400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4AA946D4-9CEF-E94A-9FE4-9B667B0E870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529D78D6-FABC-3C48-A084-91148BC0FB8C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auto">
          <a:xfrm>
            <a:off x="222250" y="1257300"/>
            <a:ext cx="5981700" cy="5229223"/>
          </a:xfrm>
          <a:custGeom>
            <a:avLst/>
            <a:gdLst>
              <a:gd name="connsiteX0" fmla="*/ 0 w 2514600"/>
              <a:gd name="connsiteY0" fmla="*/ 1238250 h 2476500"/>
              <a:gd name="connsiteX1" fmla="*/ 619125 w 2514600"/>
              <a:gd name="connsiteY1" fmla="*/ 1 h 2476500"/>
              <a:gd name="connsiteX2" fmla="*/ 1895475 w 2514600"/>
              <a:gd name="connsiteY2" fmla="*/ 1 h 2476500"/>
              <a:gd name="connsiteX3" fmla="*/ 2514600 w 2514600"/>
              <a:gd name="connsiteY3" fmla="*/ 1238250 h 2476500"/>
              <a:gd name="connsiteX4" fmla="*/ 1895475 w 2514600"/>
              <a:gd name="connsiteY4" fmla="*/ 2476499 h 2476500"/>
              <a:gd name="connsiteX5" fmla="*/ 619125 w 2514600"/>
              <a:gd name="connsiteY5" fmla="*/ 2476499 h 2476500"/>
              <a:gd name="connsiteX6" fmla="*/ 0 w 2514600"/>
              <a:gd name="connsiteY6" fmla="*/ 1238250 h 2476500"/>
              <a:gd name="connsiteX0" fmla="*/ 0 w 4041775"/>
              <a:gd name="connsiteY0" fmla="*/ 2749549 h 3987798"/>
              <a:gd name="connsiteX1" fmla="*/ 619125 w 4041775"/>
              <a:gd name="connsiteY1" fmla="*/ 1511300 h 3987798"/>
              <a:gd name="connsiteX2" fmla="*/ 4041775 w 4041775"/>
              <a:gd name="connsiteY2" fmla="*/ 0 h 3987798"/>
              <a:gd name="connsiteX3" fmla="*/ 2514600 w 4041775"/>
              <a:gd name="connsiteY3" fmla="*/ 2749549 h 3987798"/>
              <a:gd name="connsiteX4" fmla="*/ 1895475 w 4041775"/>
              <a:gd name="connsiteY4" fmla="*/ 3987798 h 3987798"/>
              <a:gd name="connsiteX5" fmla="*/ 619125 w 4041775"/>
              <a:gd name="connsiteY5" fmla="*/ 3987798 h 3987798"/>
              <a:gd name="connsiteX6" fmla="*/ 0 w 4041775"/>
              <a:gd name="connsiteY6" fmla="*/ 2749549 h 3987798"/>
              <a:gd name="connsiteX0" fmla="*/ 0 w 4394200"/>
              <a:gd name="connsiteY0" fmla="*/ 2749549 h 3987798"/>
              <a:gd name="connsiteX1" fmla="*/ 619125 w 4394200"/>
              <a:gd name="connsiteY1" fmla="*/ 1511300 h 3987798"/>
              <a:gd name="connsiteX2" fmla="*/ 4041775 w 4394200"/>
              <a:gd name="connsiteY2" fmla="*/ 0 h 3987798"/>
              <a:gd name="connsiteX3" fmla="*/ 4394200 w 4394200"/>
              <a:gd name="connsiteY3" fmla="*/ 400049 h 3987798"/>
              <a:gd name="connsiteX4" fmla="*/ 1895475 w 4394200"/>
              <a:gd name="connsiteY4" fmla="*/ 3987798 h 3987798"/>
              <a:gd name="connsiteX5" fmla="*/ 619125 w 4394200"/>
              <a:gd name="connsiteY5" fmla="*/ 3987798 h 3987798"/>
              <a:gd name="connsiteX6" fmla="*/ 0 w 4394200"/>
              <a:gd name="connsiteY6" fmla="*/ 2749549 h 3987798"/>
              <a:gd name="connsiteX0" fmla="*/ 0 w 4394200"/>
              <a:gd name="connsiteY0" fmla="*/ 2749549 h 5219698"/>
              <a:gd name="connsiteX1" fmla="*/ 619125 w 4394200"/>
              <a:gd name="connsiteY1" fmla="*/ 1511300 h 5219698"/>
              <a:gd name="connsiteX2" fmla="*/ 4041775 w 4394200"/>
              <a:gd name="connsiteY2" fmla="*/ 0 h 5219698"/>
              <a:gd name="connsiteX3" fmla="*/ 4394200 w 4394200"/>
              <a:gd name="connsiteY3" fmla="*/ 400049 h 5219698"/>
              <a:gd name="connsiteX4" fmla="*/ 3013075 w 4394200"/>
              <a:gd name="connsiteY4" fmla="*/ 5219698 h 5219698"/>
              <a:gd name="connsiteX5" fmla="*/ 619125 w 4394200"/>
              <a:gd name="connsiteY5" fmla="*/ 3987798 h 5219698"/>
              <a:gd name="connsiteX6" fmla="*/ 0 w 4394200"/>
              <a:gd name="connsiteY6" fmla="*/ 2749549 h 5219698"/>
              <a:gd name="connsiteX0" fmla="*/ 1057275 w 5451475"/>
              <a:gd name="connsiteY0" fmla="*/ 2749549 h 5219698"/>
              <a:gd name="connsiteX1" fmla="*/ 1676400 w 5451475"/>
              <a:gd name="connsiteY1" fmla="*/ 1511300 h 5219698"/>
              <a:gd name="connsiteX2" fmla="*/ 5099050 w 5451475"/>
              <a:gd name="connsiteY2" fmla="*/ 0 h 5219698"/>
              <a:gd name="connsiteX3" fmla="*/ 5451475 w 5451475"/>
              <a:gd name="connsiteY3" fmla="*/ 400049 h 5219698"/>
              <a:gd name="connsiteX4" fmla="*/ 4070350 w 5451475"/>
              <a:gd name="connsiteY4" fmla="*/ 5219698 h 5219698"/>
              <a:gd name="connsiteX5" fmla="*/ 0 w 5451475"/>
              <a:gd name="connsiteY5" fmla="*/ 5194298 h 5219698"/>
              <a:gd name="connsiteX6" fmla="*/ 1057275 w 5451475"/>
              <a:gd name="connsiteY6" fmla="*/ 2749549 h 5219698"/>
              <a:gd name="connsiteX0" fmla="*/ 0 w 5905500"/>
              <a:gd name="connsiteY0" fmla="*/ 2178049 h 5219698"/>
              <a:gd name="connsiteX1" fmla="*/ 2130425 w 5905500"/>
              <a:gd name="connsiteY1" fmla="*/ 1511300 h 5219698"/>
              <a:gd name="connsiteX2" fmla="*/ 5553075 w 5905500"/>
              <a:gd name="connsiteY2" fmla="*/ 0 h 5219698"/>
              <a:gd name="connsiteX3" fmla="*/ 5905500 w 5905500"/>
              <a:gd name="connsiteY3" fmla="*/ 400049 h 5219698"/>
              <a:gd name="connsiteX4" fmla="*/ 4524375 w 5905500"/>
              <a:gd name="connsiteY4" fmla="*/ 5219698 h 5219698"/>
              <a:gd name="connsiteX5" fmla="*/ 454025 w 5905500"/>
              <a:gd name="connsiteY5" fmla="*/ 5194298 h 5219698"/>
              <a:gd name="connsiteX6" fmla="*/ 0 w 5905500"/>
              <a:gd name="connsiteY6" fmla="*/ 2178049 h 5219698"/>
              <a:gd name="connsiteX0" fmla="*/ 0 w 5905500"/>
              <a:gd name="connsiteY0" fmla="*/ 2178049 h 5219698"/>
              <a:gd name="connsiteX1" fmla="*/ 403225 w 5905500"/>
              <a:gd name="connsiteY1" fmla="*/ 1498600 h 5219698"/>
              <a:gd name="connsiteX2" fmla="*/ 5553075 w 5905500"/>
              <a:gd name="connsiteY2" fmla="*/ 0 h 5219698"/>
              <a:gd name="connsiteX3" fmla="*/ 5905500 w 5905500"/>
              <a:gd name="connsiteY3" fmla="*/ 400049 h 5219698"/>
              <a:gd name="connsiteX4" fmla="*/ 4524375 w 5905500"/>
              <a:gd name="connsiteY4" fmla="*/ 5219698 h 5219698"/>
              <a:gd name="connsiteX5" fmla="*/ 454025 w 5905500"/>
              <a:gd name="connsiteY5" fmla="*/ 5194298 h 5219698"/>
              <a:gd name="connsiteX6" fmla="*/ 0 w 5905500"/>
              <a:gd name="connsiteY6" fmla="*/ 2178049 h 5219698"/>
              <a:gd name="connsiteX0" fmla="*/ 0 w 5905500"/>
              <a:gd name="connsiteY0" fmla="*/ 2178049 h 5219698"/>
              <a:gd name="connsiteX1" fmla="*/ 361950 w 5905500"/>
              <a:gd name="connsiteY1" fmla="*/ 1441450 h 5219698"/>
              <a:gd name="connsiteX2" fmla="*/ 5553075 w 5905500"/>
              <a:gd name="connsiteY2" fmla="*/ 0 h 5219698"/>
              <a:gd name="connsiteX3" fmla="*/ 5905500 w 5905500"/>
              <a:gd name="connsiteY3" fmla="*/ 400049 h 5219698"/>
              <a:gd name="connsiteX4" fmla="*/ 4524375 w 5905500"/>
              <a:gd name="connsiteY4" fmla="*/ 5219698 h 5219698"/>
              <a:gd name="connsiteX5" fmla="*/ 454025 w 5905500"/>
              <a:gd name="connsiteY5" fmla="*/ 5194298 h 5219698"/>
              <a:gd name="connsiteX6" fmla="*/ 0 w 5905500"/>
              <a:gd name="connsiteY6" fmla="*/ 2178049 h 5219698"/>
              <a:gd name="connsiteX0" fmla="*/ 0 w 5975350"/>
              <a:gd name="connsiteY0" fmla="*/ 2108199 h 5219698"/>
              <a:gd name="connsiteX1" fmla="*/ 431800 w 5975350"/>
              <a:gd name="connsiteY1" fmla="*/ 1441450 h 5219698"/>
              <a:gd name="connsiteX2" fmla="*/ 5622925 w 5975350"/>
              <a:gd name="connsiteY2" fmla="*/ 0 h 5219698"/>
              <a:gd name="connsiteX3" fmla="*/ 5975350 w 5975350"/>
              <a:gd name="connsiteY3" fmla="*/ 400049 h 5219698"/>
              <a:gd name="connsiteX4" fmla="*/ 4594225 w 5975350"/>
              <a:gd name="connsiteY4" fmla="*/ 5219698 h 5219698"/>
              <a:gd name="connsiteX5" fmla="*/ 523875 w 5975350"/>
              <a:gd name="connsiteY5" fmla="*/ 5194298 h 5219698"/>
              <a:gd name="connsiteX6" fmla="*/ 0 w 5975350"/>
              <a:gd name="connsiteY6" fmla="*/ 2108199 h 5219698"/>
              <a:gd name="connsiteX0" fmla="*/ 0 w 5975350"/>
              <a:gd name="connsiteY0" fmla="*/ 2108199 h 5254623"/>
              <a:gd name="connsiteX1" fmla="*/ 431800 w 5975350"/>
              <a:gd name="connsiteY1" fmla="*/ 1441450 h 5254623"/>
              <a:gd name="connsiteX2" fmla="*/ 5622925 w 5975350"/>
              <a:gd name="connsiteY2" fmla="*/ 0 h 5254623"/>
              <a:gd name="connsiteX3" fmla="*/ 5975350 w 5975350"/>
              <a:gd name="connsiteY3" fmla="*/ 400049 h 5254623"/>
              <a:gd name="connsiteX4" fmla="*/ 4594225 w 5975350"/>
              <a:gd name="connsiteY4" fmla="*/ 5219698 h 5254623"/>
              <a:gd name="connsiteX5" fmla="*/ 447675 w 5975350"/>
              <a:gd name="connsiteY5" fmla="*/ 5254623 h 5254623"/>
              <a:gd name="connsiteX6" fmla="*/ 0 w 5975350"/>
              <a:gd name="connsiteY6" fmla="*/ 2108199 h 5254623"/>
              <a:gd name="connsiteX0" fmla="*/ 0 w 5975350"/>
              <a:gd name="connsiteY0" fmla="*/ 2108199 h 5254623"/>
              <a:gd name="connsiteX1" fmla="*/ 431800 w 5975350"/>
              <a:gd name="connsiteY1" fmla="*/ 1441450 h 5254623"/>
              <a:gd name="connsiteX2" fmla="*/ 5622925 w 5975350"/>
              <a:gd name="connsiteY2" fmla="*/ 0 h 5254623"/>
              <a:gd name="connsiteX3" fmla="*/ 5975350 w 5975350"/>
              <a:gd name="connsiteY3" fmla="*/ 400049 h 5254623"/>
              <a:gd name="connsiteX4" fmla="*/ 4664075 w 5975350"/>
              <a:gd name="connsiteY4" fmla="*/ 5254623 h 5254623"/>
              <a:gd name="connsiteX5" fmla="*/ 447675 w 5975350"/>
              <a:gd name="connsiteY5" fmla="*/ 5254623 h 5254623"/>
              <a:gd name="connsiteX6" fmla="*/ 0 w 5975350"/>
              <a:gd name="connsiteY6" fmla="*/ 2108199 h 5254623"/>
              <a:gd name="connsiteX0" fmla="*/ 0 w 5981700"/>
              <a:gd name="connsiteY0" fmla="*/ 2108199 h 5254623"/>
              <a:gd name="connsiteX1" fmla="*/ 431800 w 5981700"/>
              <a:gd name="connsiteY1" fmla="*/ 1441450 h 5254623"/>
              <a:gd name="connsiteX2" fmla="*/ 5622925 w 5981700"/>
              <a:gd name="connsiteY2" fmla="*/ 0 h 5254623"/>
              <a:gd name="connsiteX3" fmla="*/ 5981700 w 5981700"/>
              <a:gd name="connsiteY3" fmla="*/ 406399 h 5254623"/>
              <a:gd name="connsiteX4" fmla="*/ 4664075 w 5981700"/>
              <a:gd name="connsiteY4" fmla="*/ 5254623 h 5254623"/>
              <a:gd name="connsiteX5" fmla="*/ 447675 w 5981700"/>
              <a:gd name="connsiteY5" fmla="*/ 5254623 h 5254623"/>
              <a:gd name="connsiteX6" fmla="*/ 0 w 5981700"/>
              <a:gd name="connsiteY6" fmla="*/ 2108199 h 5254623"/>
              <a:gd name="connsiteX0" fmla="*/ 0 w 5981700"/>
              <a:gd name="connsiteY0" fmla="*/ 1958974 h 5105398"/>
              <a:gd name="connsiteX1" fmla="*/ 431800 w 5981700"/>
              <a:gd name="connsiteY1" fmla="*/ 1292225 h 5105398"/>
              <a:gd name="connsiteX2" fmla="*/ 5584825 w 5981700"/>
              <a:gd name="connsiteY2" fmla="*/ 0 h 5105398"/>
              <a:gd name="connsiteX3" fmla="*/ 5981700 w 5981700"/>
              <a:gd name="connsiteY3" fmla="*/ 257174 h 5105398"/>
              <a:gd name="connsiteX4" fmla="*/ 4664075 w 5981700"/>
              <a:gd name="connsiteY4" fmla="*/ 5105398 h 5105398"/>
              <a:gd name="connsiteX5" fmla="*/ 447675 w 5981700"/>
              <a:gd name="connsiteY5" fmla="*/ 5105398 h 5105398"/>
              <a:gd name="connsiteX6" fmla="*/ 0 w 5981700"/>
              <a:gd name="connsiteY6" fmla="*/ 1958974 h 5105398"/>
              <a:gd name="connsiteX0" fmla="*/ 0 w 5981700"/>
              <a:gd name="connsiteY0" fmla="*/ 2082799 h 5229223"/>
              <a:gd name="connsiteX1" fmla="*/ 431800 w 5981700"/>
              <a:gd name="connsiteY1" fmla="*/ 1416050 h 5229223"/>
              <a:gd name="connsiteX2" fmla="*/ 5613400 w 5981700"/>
              <a:gd name="connsiteY2" fmla="*/ 0 h 5229223"/>
              <a:gd name="connsiteX3" fmla="*/ 5981700 w 5981700"/>
              <a:gd name="connsiteY3" fmla="*/ 380999 h 5229223"/>
              <a:gd name="connsiteX4" fmla="*/ 4664075 w 5981700"/>
              <a:gd name="connsiteY4" fmla="*/ 5229223 h 5229223"/>
              <a:gd name="connsiteX5" fmla="*/ 447675 w 5981700"/>
              <a:gd name="connsiteY5" fmla="*/ 5229223 h 5229223"/>
              <a:gd name="connsiteX6" fmla="*/ 0 w 5981700"/>
              <a:gd name="connsiteY6" fmla="*/ 2082799 h 52292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981700" h="5229223">
                <a:moveTo>
                  <a:pt x="0" y="2082799"/>
                </a:moveTo>
                <a:lnTo>
                  <a:pt x="431800" y="1416050"/>
                </a:lnTo>
                <a:lnTo>
                  <a:pt x="5613400" y="0"/>
                </a:lnTo>
                <a:lnTo>
                  <a:pt x="5981700" y="380999"/>
                </a:lnTo>
                <a:lnTo>
                  <a:pt x="4664075" y="5229223"/>
                </a:lnTo>
                <a:lnTo>
                  <a:pt x="447675" y="5229223"/>
                </a:lnTo>
                <a:lnTo>
                  <a:pt x="0" y="2082799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D03ADBD2-E758-4B45-BD74-3549F1F35C5A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>
                <a:solidFill>
                  <a:srgbClr val="009EE0"/>
                </a:solidFill>
              </a:rPr>
              <a:t>Kandidatur V IM | Martin Kühner | 14.10.19</a:t>
            </a:r>
          </a:p>
        </p:txBody>
      </p:sp>
      <p:sp>
        <p:nvSpPr>
          <p:cNvPr id="8" name="Textplatzhalter 5">
            <a:extLst>
              <a:ext uri="{FF2B5EF4-FFF2-40B4-BE49-F238E27FC236}">
                <a16:creationId xmlns:a16="http://schemas.microsoft.com/office/drawing/2014/main" id="{46002D2F-13EB-4542-9040-9F395F3AB41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19999" y="5761038"/>
            <a:ext cx="10440126" cy="179387"/>
          </a:xfrm>
        </p:spPr>
        <p:txBody>
          <a:bodyPr anchor="b"/>
          <a:lstStyle>
            <a:lvl1pPr algn="r">
              <a:buNone/>
              <a:defRPr sz="900" b="0" baseline="0">
                <a:latin typeface="+mn-lt"/>
              </a:defRPr>
            </a:lvl1pPr>
            <a:lvl2pPr>
              <a:defRPr sz="1039">
                <a:latin typeface="+mn-lt"/>
              </a:defRPr>
            </a:lvl2pPr>
            <a:lvl3pPr>
              <a:defRPr sz="1039">
                <a:latin typeface="+mn-lt"/>
              </a:defRPr>
            </a:lvl3pPr>
            <a:lvl4pPr>
              <a:defRPr sz="1039">
                <a:latin typeface="+mn-lt"/>
              </a:defRPr>
            </a:lvl4pPr>
            <a:lvl5pPr>
              <a:defRPr sz="1039">
                <a:latin typeface="+mn-lt"/>
              </a:defRPr>
            </a:lvl5pPr>
          </a:lstStyle>
          <a:p>
            <a:pPr lvl="0"/>
            <a:r>
              <a:rPr lang="de-DE" dirty="0"/>
              <a:t>Quelle oder Fußzeile einfügen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AB42C64-ACA3-5E42-81D5-3290CA45DC17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B2EFE93-C052-4444-B715-0E5F5EDD2462}" type="slidenum">
              <a:rPr lang="de-DE" smtClean="0"/>
              <a:pPr/>
              <a:t>‹#›</a:t>
            </a:fld>
            <a:endParaRPr lang="de-DE" dirty="0"/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F4E828AF-6759-A947-831D-7D5ABB8B2CE9}"/>
              </a:ext>
            </a:extLst>
          </p:cNvPr>
          <p:cNvGrpSpPr/>
          <p:nvPr userDrawn="1"/>
        </p:nvGrpSpPr>
        <p:grpSpPr>
          <a:xfrm>
            <a:off x="9053369" y="242990"/>
            <a:ext cx="1808744" cy="1891056"/>
            <a:chOff x="747252" y="1189200"/>
            <a:chExt cx="3864505" cy="4040369"/>
          </a:xfrm>
        </p:grpSpPr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97F3981A-58CA-3B42-9134-DE5DACE1374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148756" y="1189200"/>
              <a:ext cx="3061495" cy="3061495"/>
            </a:xfrm>
            <a:prstGeom prst="rect">
              <a:avLst/>
            </a:prstGeom>
          </p:spPr>
        </p:pic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8DF5E6C7-A6FF-004A-9E73-828A24F3FBB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47252" y="4369826"/>
              <a:ext cx="3864505" cy="85974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99041008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Agenda">
  <p:cSld name="Agenda">
    <p:spTree>
      <p:nvGrpSpPr>
        <p:cNvPr id="1" name="Shape 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Google Shape;32;p13"/>
          <p:cNvSpPr txBox="1">
            <a:spLocks noGrp="1"/>
          </p:cNvSpPr>
          <p:nvPr>
            <p:ph type="ftr" idx="11"/>
          </p:nvPr>
        </p:nvSpPr>
        <p:spPr>
          <a:xfrm>
            <a:off x="719138" y="6177600"/>
            <a:ext cx="7200000" cy="1231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3" name="Google Shape;33;p13"/>
          <p:cNvSpPr txBox="1">
            <a:spLocks noGrp="1"/>
          </p:cNvSpPr>
          <p:nvPr>
            <p:ph type="body" idx="1"/>
          </p:nvPr>
        </p:nvSpPr>
        <p:spPr>
          <a:xfrm>
            <a:off x="4139407" y="1847948"/>
            <a:ext cx="3600450" cy="43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457200" lvl="0" indent="-228600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/>
            </a:lvl1pPr>
            <a:lvl2pPr marL="914400" lvl="1" indent="-342900" algn="l"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▪"/>
              <a:defRPr/>
            </a:lvl6pPr>
            <a:lvl7pPr marL="3200400" lvl="6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▪"/>
              <a:defRPr/>
            </a:lvl7pPr>
            <a:lvl8pPr marL="3657600" lvl="7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▪"/>
              <a:defRPr/>
            </a:lvl8pPr>
            <a:lvl9pPr marL="4114800" lvl="8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▪"/>
              <a:defRPr/>
            </a:lvl9pPr>
          </a:lstStyle>
          <a:p>
            <a:endParaRPr/>
          </a:p>
        </p:txBody>
      </p:sp>
      <p:sp>
        <p:nvSpPr>
          <p:cNvPr id="34" name="Google Shape;34;p13"/>
          <p:cNvSpPr txBox="1">
            <a:spLocks noGrp="1"/>
          </p:cNvSpPr>
          <p:nvPr>
            <p:ph type="body" idx="2"/>
          </p:nvPr>
        </p:nvSpPr>
        <p:spPr>
          <a:xfrm>
            <a:off x="4139407" y="2443747"/>
            <a:ext cx="3600450" cy="4353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457200" lvl="0" indent="-228600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/>
            </a:lvl1pPr>
            <a:lvl2pPr marL="914400" lvl="1" indent="-342900" algn="l"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▪"/>
              <a:defRPr/>
            </a:lvl6pPr>
            <a:lvl7pPr marL="3200400" lvl="6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▪"/>
              <a:defRPr/>
            </a:lvl7pPr>
            <a:lvl8pPr marL="3657600" lvl="7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▪"/>
              <a:defRPr/>
            </a:lvl8pPr>
            <a:lvl9pPr marL="4114800" lvl="8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▪"/>
              <a:defRPr/>
            </a:lvl9pPr>
          </a:lstStyle>
          <a:p>
            <a:endParaRPr/>
          </a:p>
        </p:txBody>
      </p:sp>
      <p:sp>
        <p:nvSpPr>
          <p:cNvPr id="35" name="Google Shape;35;p13"/>
          <p:cNvSpPr txBox="1">
            <a:spLocks noGrp="1"/>
          </p:cNvSpPr>
          <p:nvPr>
            <p:ph type="body" idx="3"/>
          </p:nvPr>
        </p:nvSpPr>
        <p:spPr>
          <a:xfrm>
            <a:off x="4139407" y="3039546"/>
            <a:ext cx="3600450" cy="4353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457200" lvl="0" indent="-228600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/>
            </a:lvl1pPr>
            <a:lvl2pPr marL="914400" lvl="1" indent="-342900" algn="l"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▪"/>
              <a:defRPr/>
            </a:lvl6pPr>
            <a:lvl7pPr marL="3200400" lvl="6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▪"/>
              <a:defRPr/>
            </a:lvl7pPr>
            <a:lvl8pPr marL="3657600" lvl="7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▪"/>
              <a:defRPr/>
            </a:lvl8pPr>
            <a:lvl9pPr marL="4114800" lvl="8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▪"/>
              <a:defRPr/>
            </a:lvl9pPr>
          </a:lstStyle>
          <a:p>
            <a:endParaRPr/>
          </a:p>
        </p:txBody>
      </p:sp>
      <p:sp>
        <p:nvSpPr>
          <p:cNvPr id="36" name="Google Shape;36;p13"/>
          <p:cNvSpPr txBox="1">
            <a:spLocks noGrp="1"/>
          </p:cNvSpPr>
          <p:nvPr>
            <p:ph type="body" idx="4"/>
          </p:nvPr>
        </p:nvSpPr>
        <p:spPr>
          <a:xfrm>
            <a:off x="4139407" y="3635344"/>
            <a:ext cx="3600450" cy="4353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457200" lvl="0" indent="-228600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/>
            </a:lvl1pPr>
            <a:lvl2pPr marL="914400" lvl="1" indent="-342900" algn="l"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▪"/>
              <a:defRPr/>
            </a:lvl6pPr>
            <a:lvl7pPr marL="3200400" lvl="6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▪"/>
              <a:defRPr/>
            </a:lvl7pPr>
            <a:lvl8pPr marL="3657600" lvl="7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▪"/>
              <a:defRPr/>
            </a:lvl8pPr>
            <a:lvl9pPr marL="4114800" lvl="8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▪"/>
              <a:defRPr/>
            </a:lvl9pPr>
          </a:lstStyle>
          <a:p>
            <a:endParaRPr/>
          </a:p>
        </p:txBody>
      </p:sp>
      <p:sp>
        <p:nvSpPr>
          <p:cNvPr id="37" name="Google Shape;37;p13"/>
          <p:cNvSpPr txBox="1">
            <a:spLocks noGrp="1"/>
          </p:cNvSpPr>
          <p:nvPr>
            <p:ph type="body" idx="5"/>
          </p:nvPr>
        </p:nvSpPr>
        <p:spPr>
          <a:xfrm>
            <a:off x="3947913" y="1991948"/>
            <a:ext cx="72000" cy="144000"/>
          </a:xfrm>
          <a:prstGeom prst="rect">
            <a:avLst/>
          </a:prstGeom>
          <a:noFill/>
          <a:ln w="19050" cap="rnd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/>
            </a:lvl1pPr>
            <a:lvl2pPr marL="914400" lvl="1" indent="-342900" algn="l"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▪"/>
              <a:defRPr/>
            </a:lvl6pPr>
            <a:lvl7pPr marL="3200400" lvl="6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▪"/>
              <a:defRPr/>
            </a:lvl7pPr>
            <a:lvl8pPr marL="3657600" lvl="7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▪"/>
              <a:defRPr/>
            </a:lvl8pPr>
            <a:lvl9pPr marL="4114800" lvl="8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▪"/>
              <a:defRPr/>
            </a:lvl9pPr>
          </a:lstStyle>
          <a:p>
            <a:endParaRPr/>
          </a:p>
        </p:txBody>
      </p:sp>
      <p:sp>
        <p:nvSpPr>
          <p:cNvPr id="38" name="Google Shape;38;p13"/>
          <p:cNvSpPr txBox="1">
            <a:spLocks noGrp="1"/>
          </p:cNvSpPr>
          <p:nvPr>
            <p:ph type="body" idx="6"/>
          </p:nvPr>
        </p:nvSpPr>
        <p:spPr>
          <a:xfrm>
            <a:off x="719999" y="5761038"/>
            <a:ext cx="10440126" cy="1793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457200" lvl="0" indent="-228600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 b="0">
                <a:latin typeface="Arial"/>
                <a:ea typeface="Arial"/>
                <a:cs typeface="Arial"/>
                <a:sym typeface="Arial"/>
              </a:defRPr>
            </a:lvl1pPr>
            <a:lvl2pPr marL="914400" lvl="1" indent="-294576" algn="l"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039"/>
              <a:buChar char="•"/>
              <a:defRPr sz="1039">
                <a:latin typeface="Arial"/>
                <a:ea typeface="Arial"/>
                <a:cs typeface="Arial"/>
                <a:sym typeface="Arial"/>
              </a:defRPr>
            </a:lvl2pPr>
            <a:lvl3pPr marL="1371600" lvl="2" indent="-294576" algn="l"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039"/>
              <a:buChar char="•"/>
              <a:defRPr sz="1039">
                <a:latin typeface="Arial"/>
                <a:ea typeface="Arial"/>
                <a:cs typeface="Arial"/>
                <a:sym typeface="Arial"/>
              </a:defRPr>
            </a:lvl3pPr>
            <a:lvl4pPr marL="1828800" lvl="3" indent="-294576" algn="l"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039"/>
              <a:buChar char="•"/>
              <a:defRPr sz="1039">
                <a:latin typeface="Arial"/>
                <a:ea typeface="Arial"/>
                <a:cs typeface="Arial"/>
                <a:sym typeface="Arial"/>
              </a:defRPr>
            </a:lvl4pPr>
            <a:lvl5pPr marL="2286000" lvl="4" indent="-294576" algn="l"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039"/>
              <a:buChar char="•"/>
              <a:defRPr sz="1039">
                <a:latin typeface="Arial"/>
                <a:ea typeface="Arial"/>
                <a:cs typeface="Arial"/>
                <a:sym typeface="Arial"/>
              </a:defRPr>
            </a:lvl5pPr>
            <a:lvl6pPr marL="2743200" lvl="5" indent="-342900" algn="l"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▪"/>
              <a:defRPr/>
            </a:lvl6pPr>
            <a:lvl7pPr marL="3200400" lvl="6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▪"/>
              <a:defRPr/>
            </a:lvl7pPr>
            <a:lvl8pPr marL="3657600" lvl="7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▪"/>
              <a:defRPr/>
            </a:lvl8pPr>
            <a:lvl9pPr marL="4114800" lvl="8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▪"/>
              <a:defRPr/>
            </a:lvl9pPr>
          </a:lstStyle>
          <a:p>
            <a:endParaRPr/>
          </a:p>
        </p:txBody>
      </p:sp>
      <p:sp>
        <p:nvSpPr>
          <p:cNvPr id="39" name="Google Shape;39;p13"/>
          <p:cNvSpPr txBox="1">
            <a:spLocks noGrp="1"/>
          </p:cNvSpPr>
          <p:nvPr>
            <p:ph type="body" idx="7"/>
          </p:nvPr>
        </p:nvSpPr>
        <p:spPr>
          <a:xfrm>
            <a:off x="4139407" y="4231142"/>
            <a:ext cx="3600450" cy="4353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457200" lvl="0" indent="-228600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/>
            </a:lvl1pPr>
            <a:lvl2pPr marL="914400" lvl="1" indent="-342900" algn="l"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▪"/>
              <a:defRPr/>
            </a:lvl6pPr>
            <a:lvl7pPr marL="3200400" lvl="6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▪"/>
              <a:defRPr/>
            </a:lvl7pPr>
            <a:lvl8pPr marL="3657600" lvl="7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▪"/>
              <a:defRPr/>
            </a:lvl8pPr>
            <a:lvl9pPr marL="4114800" lvl="8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▪"/>
              <a:defRPr/>
            </a:lvl9pPr>
          </a:lstStyle>
          <a:p>
            <a:endParaRPr/>
          </a:p>
        </p:txBody>
      </p:sp>
      <p:sp>
        <p:nvSpPr>
          <p:cNvPr id="40" name="Google Shape;40;p13"/>
          <p:cNvSpPr txBox="1">
            <a:spLocks noGrp="1"/>
          </p:cNvSpPr>
          <p:nvPr>
            <p:ph type="sldNum" idx="12"/>
          </p:nvPr>
        </p:nvSpPr>
        <p:spPr>
          <a:xfrm>
            <a:off x="180000" y="6178310"/>
            <a:ext cx="360000" cy="12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lvl="0" indent="0" algn="r"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de-DE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Agenda">
  <p:cSld name="1_Agenda">
    <p:spTree>
      <p:nvGrpSpPr>
        <p:cNvPr id="1" name="Shape 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Google Shape;42;p14"/>
          <p:cNvSpPr txBox="1">
            <a:spLocks noGrp="1"/>
          </p:cNvSpPr>
          <p:nvPr>
            <p:ph type="ftr" idx="11"/>
          </p:nvPr>
        </p:nvSpPr>
        <p:spPr>
          <a:xfrm>
            <a:off x="719138" y="6177600"/>
            <a:ext cx="7200000" cy="12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64D79"/>
              </a:buClr>
              <a:buSzPts val="1400"/>
              <a:buFont typeface="Arial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9pPr>
          </a:lstStyle>
          <a:p>
            <a:endParaRPr/>
          </a:p>
        </p:txBody>
      </p:sp>
      <p:sp>
        <p:nvSpPr>
          <p:cNvPr id="43" name="Google Shape;43;p14"/>
          <p:cNvSpPr txBox="1">
            <a:spLocks noGrp="1"/>
          </p:cNvSpPr>
          <p:nvPr>
            <p:ph type="body" idx="1"/>
          </p:nvPr>
        </p:nvSpPr>
        <p:spPr>
          <a:xfrm>
            <a:off x="4139407" y="1847948"/>
            <a:ext cx="3600600" cy="43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▪"/>
              <a:defRPr/>
            </a:lvl6pPr>
            <a:lvl7pPr marL="3200400" lvl="6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▪"/>
              <a:defRPr/>
            </a:lvl7pPr>
            <a:lvl8pPr marL="3657600" lvl="7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▪"/>
              <a:defRPr/>
            </a:lvl8pPr>
            <a:lvl9pPr marL="4114800" lvl="8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▪"/>
              <a:defRPr/>
            </a:lvl9pPr>
          </a:lstStyle>
          <a:p>
            <a:endParaRPr/>
          </a:p>
        </p:txBody>
      </p:sp>
      <p:sp>
        <p:nvSpPr>
          <p:cNvPr id="44" name="Google Shape;44;p14"/>
          <p:cNvSpPr txBox="1">
            <a:spLocks noGrp="1"/>
          </p:cNvSpPr>
          <p:nvPr>
            <p:ph type="body" idx="2"/>
          </p:nvPr>
        </p:nvSpPr>
        <p:spPr>
          <a:xfrm>
            <a:off x="4139407" y="2443747"/>
            <a:ext cx="3600600" cy="43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▪"/>
              <a:defRPr/>
            </a:lvl6pPr>
            <a:lvl7pPr marL="3200400" lvl="6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▪"/>
              <a:defRPr/>
            </a:lvl7pPr>
            <a:lvl8pPr marL="3657600" lvl="7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▪"/>
              <a:defRPr/>
            </a:lvl8pPr>
            <a:lvl9pPr marL="4114800" lvl="8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▪"/>
              <a:defRPr/>
            </a:lvl9pPr>
          </a:lstStyle>
          <a:p>
            <a:endParaRPr/>
          </a:p>
        </p:txBody>
      </p:sp>
      <p:sp>
        <p:nvSpPr>
          <p:cNvPr id="45" name="Google Shape;45;p14"/>
          <p:cNvSpPr txBox="1">
            <a:spLocks noGrp="1"/>
          </p:cNvSpPr>
          <p:nvPr>
            <p:ph type="body" idx="3"/>
          </p:nvPr>
        </p:nvSpPr>
        <p:spPr>
          <a:xfrm>
            <a:off x="4139407" y="3039546"/>
            <a:ext cx="3600600" cy="43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▪"/>
              <a:defRPr/>
            </a:lvl6pPr>
            <a:lvl7pPr marL="3200400" lvl="6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▪"/>
              <a:defRPr/>
            </a:lvl7pPr>
            <a:lvl8pPr marL="3657600" lvl="7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▪"/>
              <a:defRPr/>
            </a:lvl8pPr>
            <a:lvl9pPr marL="4114800" lvl="8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▪"/>
              <a:defRPr/>
            </a:lvl9pPr>
          </a:lstStyle>
          <a:p>
            <a:endParaRPr/>
          </a:p>
        </p:txBody>
      </p:sp>
      <p:sp>
        <p:nvSpPr>
          <p:cNvPr id="46" name="Google Shape;46;p14"/>
          <p:cNvSpPr txBox="1">
            <a:spLocks noGrp="1"/>
          </p:cNvSpPr>
          <p:nvPr>
            <p:ph type="body" idx="4"/>
          </p:nvPr>
        </p:nvSpPr>
        <p:spPr>
          <a:xfrm>
            <a:off x="4139407" y="3635344"/>
            <a:ext cx="3600600" cy="43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▪"/>
              <a:defRPr/>
            </a:lvl6pPr>
            <a:lvl7pPr marL="3200400" lvl="6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▪"/>
              <a:defRPr/>
            </a:lvl7pPr>
            <a:lvl8pPr marL="3657600" lvl="7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▪"/>
              <a:defRPr/>
            </a:lvl8pPr>
            <a:lvl9pPr marL="4114800" lvl="8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▪"/>
              <a:defRPr/>
            </a:lvl9pPr>
          </a:lstStyle>
          <a:p>
            <a:endParaRPr/>
          </a:p>
        </p:txBody>
      </p:sp>
      <p:sp>
        <p:nvSpPr>
          <p:cNvPr id="47" name="Google Shape;47;p14"/>
          <p:cNvSpPr txBox="1">
            <a:spLocks noGrp="1"/>
          </p:cNvSpPr>
          <p:nvPr>
            <p:ph type="body" idx="5"/>
          </p:nvPr>
        </p:nvSpPr>
        <p:spPr>
          <a:xfrm>
            <a:off x="3947913" y="1991948"/>
            <a:ext cx="72000" cy="144000"/>
          </a:xfrm>
          <a:prstGeom prst="rect">
            <a:avLst/>
          </a:prstGeom>
          <a:noFill/>
          <a:ln w="19050" cap="rnd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▪"/>
              <a:defRPr/>
            </a:lvl6pPr>
            <a:lvl7pPr marL="3200400" lvl="6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▪"/>
              <a:defRPr/>
            </a:lvl7pPr>
            <a:lvl8pPr marL="3657600" lvl="7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▪"/>
              <a:defRPr/>
            </a:lvl8pPr>
            <a:lvl9pPr marL="4114800" lvl="8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▪"/>
              <a:defRPr/>
            </a:lvl9pPr>
          </a:lstStyle>
          <a:p>
            <a:endParaRPr/>
          </a:p>
        </p:txBody>
      </p:sp>
      <p:sp>
        <p:nvSpPr>
          <p:cNvPr id="48" name="Google Shape;48;p14"/>
          <p:cNvSpPr txBox="1">
            <a:spLocks noGrp="1"/>
          </p:cNvSpPr>
          <p:nvPr>
            <p:ph type="body" idx="6"/>
          </p:nvPr>
        </p:nvSpPr>
        <p:spPr>
          <a:xfrm>
            <a:off x="719999" y="5761038"/>
            <a:ext cx="10440000" cy="179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 b="0">
                <a:latin typeface="Arial"/>
                <a:ea typeface="Arial"/>
                <a:cs typeface="Arial"/>
                <a:sym typeface="Arial"/>
              </a:defRPr>
            </a:lvl1pPr>
            <a:lvl2pPr marL="914400" lvl="1" indent="-294576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039"/>
              <a:buChar char="•"/>
              <a:defRPr sz="1039">
                <a:latin typeface="Arial"/>
                <a:ea typeface="Arial"/>
                <a:cs typeface="Arial"/>
                <a:sym typeface="Arial"/>
              </a:defRPr>
            </a:lvl2pPr>
            <a:lvl3pPr marL="1371600" lvl="2" indent="-294576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039"/>
              <a:buChar char="•"/>
              <a:defRPr sz="1039">
                <a:latin typeface="Arial"/>
                <a:ea typeface="Arial"/>
                <a:cs typeface="Arial"/>
                <a:sym typeface="Arial"/>
              </a:defRPr>
            </a:lvl3pPr>
            <a:lvl4pPr marL="1828800" lvl="3" indent="-294576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039"/>
              <a:buChar char="•"/>
              <a:defRPr sz="1039">
                <a:latin typeface="Arial"/>
                <a:ea typeface="Arial"/>
                <a:cs typeface="Arial"/>
                <a:sym typeface="Arial"/>
              </a:defRPr>
            </a:lvl4pPr>
            <a:lvl5pPr marL="2286000" lvl="4" indent="-294576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039"/>
              <a:buChar char="•"/>
              <a:defRPr sz="1039">
                <a:latin typeface="Arial"/>
                <a:ea typeface="Arial"/>
                <a:cs typeface="Arial"/>
                <a:sym typeface="Arial"/>
              </a:defRPr>
            </a:lvl5pPr>
            <a:lvl6pPr marL="2743200" lvl="5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▪"/>
              <a:defRPr/>
            </a:lvl6pPr>
            <a:lvl7pPr marL="3200400" lvl="6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▪"/>
              <a:defRPr/>
            </a:lvl7pPr>
            <a:lvl8pPr marL="3657600" lvl="7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▪"/>
              <a:defRPr/>
            </a:lvl8pPr>
            <a:lvl9pPr marL="4114800" lvl="8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▪"/>
              <a:defRPr/>
            </a:lvl9pPr>
          </a:lstStyle>
          <a:p>
            <a:endParaRPr/>
          </a:p>
        </p:txBody>
      </p:sp>
      <p:sp>
        <p:nvSpPr>
          <p:cNvPr id="49" name="Google Shape;49;p14"/>
          <p:cNvSpPr txBox="1">
            <a:spLocks noGrp="1"/>
          </p:cNvSpPr>
          <p:nvPr>
            <p:ph type="body" idx="7"/>
          </p:nvPr>
        </p:nvSpPr>
        <p:spPr>
          <a:xfrm>
            <a:off x="4139407" y="4231142"/>
            <a:ext cx="3600600" cy="43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▪"/>
              <a:defRPr/>
            </a:lvl6pPr>
            <a:lvl7pPr marL="3200400" lvl="6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▪"/>
              <a:defRPr/>
            </a:lvl7pPr>
            <a:lvl8pPr marL="3657600" lvl="7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▪"/>
              <a:defRPr/>
            </a:lvl8pPr>
            <a:lvl9pPr marL="4114800" lvl="8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▪"/>
              <a:defRPr/>
            </a:lvl9pPr>
          </a:lstStyle>
          <a:p>
            <a:endParaRPr/>
          </a:p>
        </p:txBody>
      </p:sp>
      <p:sp>
        <p:nvSpPr>
          <p:cNvPr id="50" name="Google Shape;50;p14"/>
          <p:cNvSpPr txBox="1">
            <a:spLocks noGrp="1"/>
          </p:cNvSpPr>
          <p:nvPr>
            <p:ph type="sldNum" idx="12"/>
          </p:nvPr>
        </p:nvSpPr>
        <p:spPr>
          <a:xfrm>
            <a:off x="180000" y="6178310"/>
            <a:ext cx="360000" cy="12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rgbClr val="A64D79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rgbClr val="A64D79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rgbClr val="A64D79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rgbClr val="A64D79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rgbClr val="A64D79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rgbClr val="A64D79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rgbClr val="A64D79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rgbClr val="A64D79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rgbClr val="A64D79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de-DE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GmbH_Dreieck">
  <p:cSld name="GmbH_Dreieck">
    <p:spTree>
      <p:nvGrpSpPr>
        <p:cNvPr id="1" name="Shape 59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Verein_Titelfolie">
  <p:cSld name="Verein_Titelfolie">
    <p:spTree>
      <p:nvGrpSpPr>
        <p:cNvPr id="1" name="Shape 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Google Shape;61;p17"/>
          <p:cNvSpPr txBox="1">
            <a:spLocks noGrp="1"/>
          </p:cNvSpPr>
          <p:nvPr>
            <p:ph type="ctrTitle"/>
          </p:nvPr>
        </p:nvSpPr>
        <p:spPr>
          <a:xfrm>
            <a:off x="719137" y="3240088"/>
            <a:ext cx="7544423" cy="5445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 sz="3600">
                <a:solidFill>
                  <a:schemeClr val="dk1"/>
                </a:solidFill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2" name="Google Shape;62;p17"/>
          <p:cNvSpPr txBox="1">
            <a:spLocks noGrp="1"/>
          </p:cNvSpPr>
          <p:nvPr>
            <p:ph type="subTitle" idx="1"/>
          </p:nvPr>
        </p:nvSpPr>
        <p:spPr>
          <a:xfrm>
            <a:off x="719138" y="3888159"/>
            <a:ext cx="7544423" cy="307777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Noto Sans Symbols"/>
              <a:buNone/>
              <a:defRPr sz="2000" b="0">
                <a:solidFill>
                  <a:schemeClr val="dk1"/>
                </a:solidFill>
              </a:defRPr>
            </a:lvl1pPr>
            <a:lvl2pPr lvl="1" algn="l"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lvl="2" algn="l"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lvl="3" algn="l"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lvl="4" algn="l"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lvl="5" algn="l"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▪"/>
              <a:defRPr/>
            </a:lvl6pPr>
            <a:lvl7pPr lvl="6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▪"/>
              <a:defRPr/>
            </a:lvl7pPr>
            <a:lvl8pPr lvl="7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▪"/>
              <a:defRPr/>
            </a:lvl8pPr>
            <a:lvl9pPr lvl="8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▪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AT_ST">
  <p:cSld name="AT_ST">
    <p:spTree>
      <p:nvGrpSpPr>
        <p:cNvPr id="1" name="Shape 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Google Shape;64;p18"/>
          <p:cNvSpPr txBox="1">
            <a:spLocks noGrp="1"/>
          </p:cNvSpPr>
          <p:nvPr>
            <p:ph type="title"/>
          </p:nvPr>
        </p:nvSpPr>
        <p:spPr>
          <a:xfrm>
            <a:off x="719139" y="179388"/>
            <a:ext cx="10440986" cy="4333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 sz="1600"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5" name="Google Shape;65;p18"/>
          <p:cNvSpPr txBox="1">
            <a:spLocks noGrp="1"/>
          </p:cNvSpPr>
          <p:nvPr>
            <p:ph type="body" idx="1"/>
          </p:nvPr>
        </p:nvSpPr>
        <p:spPr>
          <a:xfrm>
            <a:off x="720479" y="828675"/>
            <a:ext cx="10439646" cy="2143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spcBef>
                <a:spcPts val="0"/>
              </a:spcBef>
              <a:spcAft>
                <a:spcPts val="0"/>
              </a:spcAft>
              <a:buClr>
                <a:srgbClr val="800000"/>
              </a:buClr>
              <a:buSzPts val="1600"/>
              <a:buNone/>
              <a:defRPr sz="1600">
                <a:solidFill>
                  <a:srgbClr val="800000"/>
                </a:solidFill>
              </a:defRPr>
            </a:lvl1pPr>
            <a:lvl2pPr marL="914400" lvl="1" indent="-342900" algn="l"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▪"/>
              <a:defRPr/>
            </a:lvl6pPr>
            <a:lvl7pPr marL="3200400" lvl="6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▪"/>
              <a:defRPr/>
            </a:lvl7pPr>
            <a:lvl8pPr marL="3657600" lvl="7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▪"/>
              <a:defRPr/>
            </a:lvl8pPr>
            <a:lvl9pPr marL="4114800" lvl="8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▪"/>
              <a:defRPr/>
            </a:lvl9pPr>
          </a:lstStyle>
          <a:p>
            <a:endParaRPr/>
          </a:p>
        </p:txBody>
      </p:sp>
      <p:sp>
        <p:nvSpPr>
          <p:cNvPr id="66" name="Google Shape;66;p18"/>
          <p:cNvSpPr txBox="1">
            <a:spLocks noGrp="1"/>
          </p:cNvSpPr>
          <p:nvPr>
            <p:ph type="body" idx="2"/>
          </p:nvPr>
        </p:nvSpPr>
        <p:spPr>
          <a:xfrm>
            <a:off x="719999" y="5761038"/>
            <a:ext cx="10440126" cy="1793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457200" lvl="0" indent="-228600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 b="0">
                <a:latin typeface="Arial"/>
                <a:ea typeface="Arial"/>
                <a:cs typeface="Arial"/>
                <a:sym typeface="Arial"/>
              </a:defRPr>
            </a:lvl1pPr>
            <a:lvl2pPr marL="914400" lvl="1" indent="-294576" algn="l"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039"/>
              <a:buChar char="•"/>
              <a:defRPr sz="1039">
                <a:latin typeface="Arial"/>
                <a:ea typeface="Arial"/>
                <a:cs typeface="Arial"/>
                <a:sym typeface="Arial"/>
              </a:defRPr>
            </a:lvl2pPr>
            <a:lvl3pPr marL="1371600" lvl="2" indent="-294576" algn="l"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039"/>
              <a:buChar char="•"/>
              <a:defRPr sz="1039">
                <a:latin typeface="Arial"/>
                <a:ea typeface="Arial"/>
                <a:cs typeface="Arial"/>
                <a:sym typeface="Arial"/>
              </a:defRPr>
            </a:lvl3pPr>
            <a:lvl4pPr marL="1828800" lvl="3" indent="-294576" algn="l"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039"/>
              <a:buChar char="•"/>
              <a:defRPr sz="1039">
                <a:latin typeface="Arial"/>
                <a:ea typeface="Arial"/>
                <a:cs typeface="Arial"/>
                <a:sym typeface="Arial"/>
              </a:defRPr>
            </a:lvl4pPr>
            <a:lvl5pPr marL="2286000" lvl="4" indent="-294576" algn="l"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039"/>
              <a:buChar char="•"/>
              <a:defRPr sz="1039">
                <a:latin typeface="Arial"/>
                <a:ea typeface="Arial"/>
                <a:cs typeface="Arial"/>
                <a:sym typeface="Arial"/>
              </a:defRPr>
            </a:lvl5pPr>
            <a:lvl6pPr marL="2743200" lvl="5" indent="-342900" algn="l"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▪"/>
              <a:defRPr/>
            </a:lvl6pPr>
            <a:lvl7pPr marL="3200400" lvl="6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▪"/>
              <a:defRPr/>
            </a:lvl7pPr>
            <a:lvl8pPr marL="3657600" lvl="7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▪"/>
              <a:defRPr/>
            </a:lvl8pPr>
            <a:lvl9pPr marL="4114800" lvl="8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▪"/>
              <a:defRPr/>
            </a:lvl9pPr>
          </a:lstStyle>
          <a:p>
            <a:endParaRPr/>
          </a:p>
        </p:txBody>
      </p:sp>
      <p:sp>
        <p:nvSpPr>
          <p:cNvPr id="67" name="Google Shape;67;p18"/>
          <p:cNvSpPr txBox="1">
            <a:spLocks noGrp="1"/>
          </p:cNvSpPr>
          <p:nvPr>
            <p:ph type="sldNum" idx="12"/>
          </p:nvPr>
        </p:nvSpPr>
        <p:spPr>
          <a:xfrm>
            <a:off x="180000" y="6178310"/>
            <a:ext cx="360000" cy="12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lvl="0" indent="0" algn="r"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de-DE"/>
              <a:t>‹#›</a:t>
            </a:fld>
            <a:endParaRPr/>
          </a:p>
        </p:txBody>
      </p:sp>
      <p:sp>
        <p:nvSpPr>
          <p:cNvPr id="68" name="Google Shape;68;p18"/>
          <p:cNvSpPr txBox="1">
            <a:spLocks noGrp="1"/>
          </p:cNvSpPr>
          <p:nvPr>
            <p:ph type="ftr" idx="11"/>
          </p:nvPr>
        </p:nvSpPr>
        <p:spPr>
          <a:xfrm>
            <a:off x="719138" y="6177600"/>
            <a:ext cx="7200000" cy="1231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 sz="800">
                <a:solidFill>
                  <a:srgbClr val="A64D79"/>
                </a:solidFill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AT_ST_Inhalt">
  <p:cSld name="AT_ST_Inhalt">
    <p:spTree>
      <p:nvGrpSpPr>
        <p:cNvPr id="1" name="Shape 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Google Shape;70;p19"/>
          <p:cNvSpPr txBox="1">
            <a:spLocks noGrp="1"/>
          </p:cNvSpPr>
          <p:nvPr>
            <p:ph type="title"/>
          </p:nvPr>
        </p:nvSpPr>
        <p:spPr>
          <a:xfrm>
            <a:off x="719139" y="179388"/>
            <a:ext cx="10440986" cy="4333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 sz="1600"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1" name="Google Shape;71;p19"/>
          <p:cNvSpPr txBox="1">
            <a:spLocks noGrp="1"/>
          </p:cNvSpPr>
          <p:nvPr>
            <p:ph type="body" idx="1"/>
          </p:nvPr>
        </p:nvSpPr>
        <p:spPr>
          <a:xfrm>
            <a:off x="719139" y="1258888"/>
            <a:ext cx="10440986" cy="45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▪"/>
              <a:defRPr/>
            </a:lvl6pPr>
            <a:lvl7pPr marL="3200400" lvl="6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▪"/>
              <a:defRPr/>
            </a:lvl7pPr>
            <a:lvl8pPr marL="3657600" lvl="7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▪"/>
              <a:defRPr/>
            </a:lvl8pPr>
            <a:lvl9pPr marL="4114800" lvl="8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▪"/>
              <a:defRPr/>
            </a:lvl9pPr>
          </a:lstStyle>
          <a:p>
            <a:endParaRPr/>
          </a:p>
        </p:txBody>
      </p:sp>
      <p:sp>
        <p:nvSpPr>
          <p:cNvPr id="72" name="Google Shape;72;p19"/>
          <p:cNvSpPr txBox="1">
            <a:spLocks noGrp="1"/>
          </p:cNvSpPr>
          <p:nvPr>
            <p:ph type="body" idx="2"/>
          </p:nvPr>
        </p:nvSpPr>
        <p:spPr>
          <a:xfrm>
            <a:off x="719999" y="5761038"/>
            <a:ext cx="10440126" cy="1793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457200" lvl="0" indent="-228600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 b="0">
                <a:latin typeface="Arial"/>
                <a:ea typeface="Arial"/>
                <a:cs typeface="Arial"/>
                <a:sym typeface="Arial"/>
              </a:defRPr>
            </a:lvl1pPr>
            <a:lvl2pPr marL="914400" lvl="1" indent="-294576" algn="l"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039"/>
              <a:buChar char="•"/>
              <a:defRPr sz="1039">
                <a:latin typeface="Arial"/>
                <a:ea typeface="Arial"/>
                <a:cs typeface="Arial"/>
                <a:sym typeface="Arial"/>
              </a:defRPr>
            </a:lvl2pPr>
            <a:lvl3pPr marL="1371600" lvl="2" indent="-294576" algn="l"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039"/>
              <a:buChar char="•"/>
              <a:defRPr sz="1039">
                <a:latin typeface="Arial"/>
                <a:ea typeface="Arial"/>
                <a:cs typeface="Arial"/>
                <a:sym typeface="Arial"/>
              </a:defRPr>
            </a:lvl3pPr>
            <a:lvl4pPr marL="1828800" lvl="3" indent="-294576" algn="l"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039"/>
              <a:buChar char="•"/>
              <a:defRPr sz="1039">
                <a:latin typeface="Arial"/>
                <a:ea typeface="Arial"/>
                <a:cs typeface="Arial"/>
                <a:sym typeface="Arial"/>
              </a:defRPr>
            </a:lvl4pPr>
            <a:lvl5pPr marL="2286000" lvl="4" indent="-294576" algn="l"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039"/>
              <a:buChar char="•"/>
              <a:defRPr sz="1039">
                <a:latin typeface="Arial"/>
                <a:ea typeface="Arial"/>
                <a:cs typeface="Arial"/>
                <a:sym typeface="Arial"/>
              </a:defRPr>
            </a:lvl5pPr>
            <a:lvl6pPr marL="2743200" lvl="5" indent="-342900" algn="l"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▪"/>
              <a:defRPr/>
            </a:lvl6pPr>
            <a:lvl7pPr marL="3200400" lvl="6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▪"/>
              <a:defRPr/>
            </a:lvl7pPr>
            <a:lvl8pPr marL="3657600" lvl="7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▪"/>
              <a:defRPr/>
            </a:lvl8pPr>
            <a:lvl9pPr marL="4114800" lvl="8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▪"/>
              <a:defRPr/>
            </a:lvl9pPr>
          </a:lstStyle>
          <a:p>
            <a:endParaRPr/>
          </a:p>
        </p:txBody>
      </p:sp>
      <p:sp>
        <p:nvSpPr>
          <p:cNvPr id="73" name="Google Shape;73;p19"/>
          <p:cNvSpPr txBox="1">
            <a:spLocks noGrp="1"/>
          </p:cNvSpPr>
          <p:nvPr>
            <p:ph type="sldNum" idx="12"/>
          </p:nvPr>
        </p:nvSpPr>
        <p:spPr>
          <a:xfrm>
            <a:off x="180000" y="6178310"/>
            <a:ext cx="360000" cy="12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lvl="0" indent="0" algn="r"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de-DE"/>
              <a:t>‹#›</a:t>
            </a:fld>
            <a:endParaRPr/>
          </a:p>
        </p:txBody>
      </p:sp>
      <p:sp>
        <p:nvSpPr>
          <p:cNvPr id="74" name="Google Shape;74;p19"/>
          <p:cNvSpPr txBox="1">
            <a:spLocks noGrp="1"/>
          </p:cNvSpPr>
          <p:nvPr>
            <p:ph type="ftr" idx="11"/>
          </p:nvPr>
        </p:nvSpPr>
        <p:spPr>
          <a:xfrm>
            <a:off x="719138" y="6177600"/>
            <a:ext cx="7200000" cy="1231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 sz="800">
                <a:solidFill>
                  <a:srgbClr val="A64D79"/>
                </a:solidFill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5" name="Google Shape;75;p19"/>
          <p:cNvSpPr txBox="1">
            <a:spLocks noGrp="1"/>
          </p:cNvSpPr>
          <p:nvPr>
            <p:ph type="body" idx="3"/>
          </p:nvPr>
        </p:nvSpPr>
        <p:spPr>
          <a:xfrm>
            <a:off x="720479" y="828675"/>
            <a:ext cx="10439646" cy="2143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spcBef>
                <a:spcPts val="0"/>
              </a:spcBef>
              <a:spcAft>
                <a:spcPts val="0"/>
              </a:spcAft>
              <a:buClr>
                <a:srgbClr val="800000"/>
              </a:buClr>
              <a:buSzPts val="1600"/>
              <a:buNone/>
              <a:defRPr sz="1600">
                <a:solidFill>
                  <a:srgbClr val="800000"/>
                </a:solidFill>
              </a:defRPr>
            </a:lvl1pPr>
            <a:lvl2pPr marL="914400" lvl="1" indent="-342900" algn="l"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▪"/>
              <a:defRPr/>
            </a:lvl6pPr>
            <a:lvl7pPr marL="3200400" lvl="6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▪"/>
              <a:defRPr/>
            </a:lvl7pPr>
            <a:lvl8pPr marL="3657600" lvl="7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▪"/>
              <a:defRPr/>
            </a:lvl8pPr>
            <a:lvl9pPr marL="4114800" lvl="8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▪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el_MM">
  <p:cSld name="Titel_MM">
    <p:spTree>
      <p:nvGrpSpPr>
        <p:cNvPr id="1" name="Shape 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" name="Google Shape;77;p20"/>
          <p:cNvSpPr txBox="1">
            <a:spLocks noGrp="1"/>
          </p:cNvSpPr>
          <p:nvPr>
            <p:ph type="title"/>
          </p:nvPr>
        </p:nvSpPr>
        <p:spPr>
          <a:xfrm>
            <a:off x="719139" y="179388"/>
            <a:ext cx="10440986" cy="4333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 sz="2000">
                <a:solidFill>
                  <a:schemeClr val="accent1"/>
                </a:solidFill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8" name="Google Shape;78;p20"/>
          <p:cNvSpPr txBox="1">
            <a:spLocks noGrp="1"/>
          </p:cNvSpPr>
          <p:nvPr>
            <p:ph type="body" idx="1"/>
          </p:nvPr>
        </p:nvSpPr>
        <p:spPr>
          <a:xfrm>
            <a:off x="720000" y="828000"/>
            <a:ext cx="10440986" cy="49330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17500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 sz="1400"/>
            </a:lvl1pPr>
            <a:lvl2pPr marL="914400" lvl="1" indent="-317500" algn="l"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 sz="1400"/>
            </a:lvl2pPr>
            <a:lvl3pPr marL="1371600" lvl="2" indent="-304800" algn="l"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200"/>
              <a:buChar char="•"/>
              <a:defRPr sz="1200"/>
            </a:lvl3pPr>
            <a:lvl4pPr marL="1828800" lvl="3" indent="-304800" algn="l"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200"/>
              <a:buChar char="•"/>
              <a:defRPr sz="1200"/>
            </a:lvl4pPr>
            <a:lvl5pPr marL="2286000" lvl="4" indent="-304800" algn="l"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200"/>
              <a:buChar char="•"/>
              <a:defRPr sz="1200"/>
            </a:lvl5pPr>
            <a:lvl6pPr marL="2743200" lvl="5" indent="-342900" algn="l"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▪"/>
              <a:defRPr/>
            </a:lvl6pPr>
            <a:lvl7pPr marL="3200400" lvl="6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▪"/>
              <a:defRPr/>
            </a:lvl7pPr>
            <a:lvl8pPr marL="3657600" lvl="7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▪"/>
              <a:defRPr/>
            </a:lvl8pPr>
            <a:lvl9pPr marL="4114800" lvl="8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▪"/>
              <a:defRPr/>
            </a:lvl9pPr>
          </a:lstStyle>
          <a:p>
            <a:endParaRPr/>
          </a:p>
        </p:txBody>
      </p:sp>
      <p:sp>
        <p:nvSpPr>
          <p:cNvPr id="79" name="Google Shape;79;p20"/>
          <p:cNvSpPr txBox="1">
            <a:spLocks noGrp="1"/>
          </p:cNvSpPr>
          <p:nvPr>
            <p:ph type="body" idx="2"/>
          </p:nvPr>
        </p:nvSpPr>
        <p:spPr>
          <a:xfrm>
            <a:off x="719999" y="5761038"/>
            <a:ext cx="10440126" cy="1793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457200" lvl="0" indent="-228600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 b="0">
                <a:latin typeface="Arial"/>
                <a:ea typeface="Arial"/>
                <a:cs typeface="Arial"/>
                <a:sym typeface="Arial"/>
              </a:defRPr>
            </a:lvl1pPr>
            <a:lvl2pPr marL="914400" lvl="1" indent="-294576" algn="l"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039"/>
              <a:buChar char="•"/>
              <a:defRPr sz="1039">
                <a:latin typeface="Arial"/>
                <a:ea typeface="Arial"/>
                <a:cs typeface="Arial"/>
                <a:sym typeface="Arial"/>
              </a:defRPr>
            </a:lvl2pPr>
            <a:lvl3pPr marL="1371600" lvl="2" indent="-294576" algn="l"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039"/>
              <a:buChar char="•"/>
              <a:defRPr sz="1039">
                <a:latin typeface="Arial"/>
                <a:ea typeface="Arial"/>
                <a:cs typeface="Arial"/>
                <a:sym typeface="Arial"/>
              </a:defRPr>
            </a:lvl3pPr>
            <a:lvl4pPr marL="1828800" lvl="3" indent="-294576" algn="l"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039"/>
              <a:buChar char="•"/>
              <a:defRPr sz="1039">
                <a:latin typeface="Arial"/>
                <a:ea typeface="Arial"/>
                <a:cs typeface="Arial"/>
                <a:sym typeface="Arial"/>
              </a:defRPr>
            </a:lvl4pPr>
            <a:lvl5pPr marL="2286000" lvl="4" indent="-294576" algn="l"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039"/>
              <a:buChar char="•"/>
              <a:defRPr sz="1039">
                <a:latin typeface="Arial"/>
                <a:ea typeface="Arial"/>
                <a:cs typeface="Arial"/>
                <a:sym typeface="Arial"/>
              </a:defRPr>
            </a:lvl5pPr>
            <a:lvl6pPr marL="2743200" lvl="5" indent="-342900" algn="l"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▪"/>
              <a:defRPr/>
            </a:lvl6pPr>
            <a:lvl7pPr marL="3200400" lvl="6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▪"/>
              <a:defRPr/>
            </a:lvl7pPr>
            <a:lvl8pPr marL="3657600" lvl="7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▪"/>
              <a:defRPr/>
            </a:lvl8pPr>
            <a:lvl9pPr marL="4114800" lvl="8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▪"/>
              <a:defRPr/>
            </a:lvl9pPr>
          </a:lstStyle>
          <a:p>
            <a:endParaRPr/>
          </a:p>
        </p:txBody>
      </p:sp>
      <p:sp>
        <p:nvSpPr>
          <p:cNvPr id="80" name="Google Shape;80;p20"/>
          <p:cNvSpPr txBox="1">
            <a:spLocks noGrp="1"/>
          </p:cNvSpPr>
          <p:nvPr>
            <p:ph type="sldNum" idx="12"/>
          </p:nvPr>
        </p:nvSpPr>
        <p:spPr>
          <a:xfrm>
            <a:off x="180000" y="6178310"/>
            <a:ext cx="360000" cy="12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lvl="0" indent="0" algn="r"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de-DE"/>
              <a:t>‹#›</a:t>
            </a:fld>
            <a:endParaRPr/>
          </a:p>
        </p:txBody>
      </p:sp>
      <p:sp>
        <p:nvSpPr>
          <p:cNvPr id="81" name="Google Shape;81;p20"/>
          <p:cNvSpPr txBox="1">
            <a:spLocks noGrp="1"/>
          </p:cNvSpPr>
          <p:nvPr>
            <p:ph type="ftr" idx="11"/>
          </p:nvPr>
        </p:nvSpPr>
        <p:spPr>
          <a:xfrm>
            <a:off x="719138" y="6177600"/>
            <a:ext cx="7200000" cy="1231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 sz="800">
                <a:solidFill>
                  <a:srgbClr val="A64D79"/>
                </a:solidFill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Leer">
  <p:cSld name="Leer">
    <p:spTree>
      <p:nvGrpSpPr>
        <p:cNvPr id="1" name="Shape 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" name="Google Shape;83;p21"/>
          <p:cNvSpPr txBox="1">
            <a:spLocks noGrp="1"/>
          </p:cNvSpPr>
          <p:nvPr>
            <p:ph type="body" idx="1"/>
          </p:nvPr>
        </p:nvSpPr>
        <p:spPr>
          <a:xfrm>
            <a:off x="719999" y="5761038"/>
            <a:ext cx="10440126" cy="1793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457200" lvl="0" indent="-228600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 b="0">
                <a:latin typeface="Arial"/>
                <a:ea typeface="Arial"/>
                <a:cs typeface="Arial"/>
                <a:sym typeface="Arial"/>
              </a:defRPr>
            </a:lvl1pPr>
            <a:lvl2pPr marL="914400" lvl="1" indent="-294576" algn="l"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039"/>
              <a:buChar char="•"/>
              <a:defRPr sz="1039">
                <a:latin typeface="Arial"/>
                <a:ea typeface="Arial"/>
                <a:cs typeface="Arial"/>
                <a:sym typeface="Arial"/>
              </a:defRPr>
            </a:lvl2pPr>
            <a:lvl3pPr marL="1371600" lvl="2" indent="-294576" algn="l"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039"/>
              <a:buChar char="•"/>
              <a:defRPr sz="1039">
                <a:latin typeface="Arial"/>
                <a:ea typeface="Arial"/>
                <a:cs typeface="Arial"/>
                <a:sym typeface="Arial"/>
              </a:defRPr>
            </a:lvl3pPr>
            <a:lvl4pPr marL="1828800" lvl="3" indent="-294576" algn="l"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039"/>
              <a:buChar char="•"/>
              <a:defRPr sz="1039">
                <a:latin typeface="Arial"/>
                <a:ea typeface="Arial"/>
                <a:cs typeface="Arial"/>
                <a:sym typeface="Arial"/>
              </a:defRPr>
            </a:lvl4pPr>
            <a:lvl5pPr marL="2286000" lvl="4" indent="-294576" algn="l"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039"/>
              <a:buChar char="•"/>
              <a:defRPr sz="1039">
                <a:latin typeface="Arial"/>
                <a:ea typeface="Arial"/>
                <a:cs typeface="Arial"/>
                <a:sym typeface="Arial"/>
              </a:defRPr>
            </a:lvl5pPr>
            <a:lvl6pPr marL="2743200" lvl="5" indent="-342900" algn="l"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▪"/>
              <a:defRPr/>
            </a:lvl6pPr>
            <a:lvl7pPr marL="3200400" lvl="6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▪"/>
              <a:defRPr/>
            </a:lvl7pPr>
            <a:lvl8pPr marL="3657600" lvl="7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▪"/>
              <a:defRPr/>
            </a:lvl8pPr>
            <a:lvl9pPr marL="4114800" lvl="8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▪"/>
              <a:defRPr/>
            </a:lvl9pPr>
          </a:lstStyle>
          <a:p>
            <a:endParaRPr/>
          </a:p>
        </p:txBody>
      </p:sp>
      <p:sp>
        <p:nvSpPr>
          <p:cNvPr id="84" name="Google Shape;84;p21"/>
          <p:cNvSpPr txBox="1">
            <a:spLocks noGrp="1"/>
          </p:cNvSpPr>
          <p:nvPr>
            <p:ph type="sldNum" idx="12"/>
          </p:nvPr>
        </p:nvSpPr>
        <p:spPr>
          <a:xfrm>
            <a:off x="180000" y="6178310"/>
            <a:ext cx="360000" cy="12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lvl="0" indent="0" algn="r"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de-DE"/>
              <a:t>‹#›</a:t>
            </a:fld>
            <a:endParaRPr/>
          </a:p>
        </p:txBody>
      </p:sp>
      <p:sp>
        <p:nvSpPr>
          <p:cNvPr id="85" name="Google Shape;85;p21"/>
          <p:cNvSpPr txBox="1">
            <a:spLocks noGrp="1"/>
          </p:cNvSpPr>
          <p:nvPr>
            <p:ph type="ftr" idx="11"/>
          </p:nvPr>
        </p:nvSpPr>
        <p:spPr>
          <a:xfrm>
            <a:off x="719138" y="6177600"/>
            <a:ext cx="7200000" cy="1231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 sz="800">
                <a:solidFill>
                  <a:srgbClr val="A64D79"/>
                </a:solidFill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10"/>
          <p:cNvSpPr txBox="1">
            <a:spLocks noGrp="1"/>
          </p:cNvSpPr>
          <p:nvPr>
            <p:ph type="title"/>
          </p:nvPr>
        </p:nvSpPr>
        <p:spPr>
          <a:xfrm>
            <a:off x="719139" y="179387"/>
            <a:ext cx="10440986" cy="4333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1" name="Google Shape;11;p10"/>
          <p:cNvSpPr txBox="1">
            <a:spLocks noGrp="1"/>
          </p:cNvSpPr>
          <p:nvPr>
            <p:ph type="body" idx="1"/>
          </p:nvPr>
        </p:nvSpPr>
        <p:spPr>
          <a:xfrm>
            <a:off x="719139" y="1258888"/>
            <a:ext cx="10440986" cy="45011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marR="0" lvl="0" indent="-31750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17500" algn="l" rtl="0"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04800" algn="l" rtl="0"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Char char="•"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04800" algn="l" rtl="0"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Char char="•"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04800" algn="l" rtl="0"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Char char="•"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24611" algn="l" rtl="0"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512"/>
              <a:buFont typeface="Noto Sans Symbols"/>
              <a:buChar char="▪"/>
              <a:defRPr sz="1512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24611" algn="l" rtl="0">
              <a:spcBef>
                <a:spcPts val="302"/>
              </a:spcBef>
              <a:spcAft>
                <a:spcPts val="0"/>
              </a:spcAft>
              <a:buClr>
                <a:schemeClr val="dk1"/>
              </a:buClr>
              <a:buSzPts val="1512"/>
              <a:buFont typeface="Noto Sans Symbols"/>
              <a:buChar char="▪"/>
              <a:defRPr sz="1512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24611" algn="l" rtl="0">
              <a:spcBef>
                <a:spcPts val="302"/>
              </a:spcBef>
              <a:spcAft>
                <a:spcPts val="0"/>
              </a:spcAft>
              <a:buClr>
                <a:schemeClr val="dk1"/>
              </a:buClr>
              <a:buSzPts val="1512"/>
              <a:buFont typeface="Noto Sans Symbols"/>
              <a:buChar char="▪"/>
              <a:defRPr sz="1512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24611" algn="l" rtl="0">
              <a:spcBef>
                <a:spcPts val="302"/>
              </a:spcBef>
              <a:spcAft>
                <a:spcPts val="0"/>
              </a:spcAft>
              <a:buClr>
                <a:schemeClr val="dk1"/>
              </a:buClr>
              <a:buSzPts val="1512"/>
              <a:buFont typeface="Noto Sans Symbols"/>
              <a:buChar char="▪"/>
              <a:defRPr sz="1512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2" name="Google Shape;12;p10"/>
          <p:cNvSpPr txBox="1">
            <a:spLocks noGrp="1"/>
          </p:cNvSpPr>
          <p:nvPr>
            <p:ph type="ftr" idx="11"/>
          </p:nvPr>
        </p:nvSpPr>
        <p:spPr>
          <a:xfrm>
            <a:off x="719138" y="6177600"/>
            <a:ext cx="7200000" cy="1231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800" b="0" i="0" u="none" strike="noStrike" cap="none">
                <a:solidFill>
                  <a:srgbClr val="A64D79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3" name="Google Shape;13;p10"/>
          <p:cNvSpPr txBox="1">
            <a:spLocks noGrp="1"/>
          </p:cNvSpPr>
          <p:nvPr>
            <p:ph type="sldNum" idx="12"/>
          </p:nvPr>
        </p:nvSpPr>
        <p:spPr>
          <a:xfrm>
            <a:off x="180000" y="6178310"/>
            <a:ext cx="360000" cy="12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spcAft>
                <a:spcPts val="0"/>
              </a:spcAft>
              <a:buNone/>
              <a:defRPr sz="800" b="0" i="0" u="none" strike="noStrike" cap="none">
                <a:solidFill>
                  <a:srgbClr val="A64D79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spcBef>
                <a:spcPts val="0"/>
              </a:spcBef>
              <a:spcAft>
                <a:spcPts val="0"/>
              </a:spcAft>
              <a:buNone/>
              <a:defRPr sz="800" b="0" i="0" u="none" strike="noStrike" cap="none">
                <a:solidFill>
                  <a:srgbClr val="A64D79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spcBef>
                <a:spcPts val="0"/>
              </a:spcBef>
              <a:spcAft>
                <a:spcPts val="0"/>
              </a:spcAft>
              <a:buNone/>
              <a:defRPr sz="800" b="0" i="0" u="none" strike="noStrike" cap="none">
                <a:solidFill>
                  <a:srgbClr val="A64D79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spcBef>
                <a:spcPts val="0"/>
              </a:spcBef>
              <a:spcAft>
                <a:spcPts val="0"/>
              </a:spcAft>
              <a:buNone/>
              <a:defRPr sz="800" b="0" i="0" u="none" strike="noStrike" cap="none">
                <a:solidFill>
                  <a:srgbClr val="A64D79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spcBef>
                <a:spcPts val="0"/>
              </a:spcBef>
              <a:spcAft>
                <a:spcPts val="0"/>
              </a:spcAft>
              <a:buNone/>
              <a:defRPr sz="800" b="0" i="0" u="none" strike="noStrike" cap="none">
                <a:solidFill>
                  <a:srgbClr val="A64D79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spcBef>
                <a:spcPts val="0"/>
              </a:spcBef>
              <a:spcAft>
                <a:spcPts val="0"/>
              </a:spcAft>
              <a:buNone/>
              <a:defRPr sz="800" b="0" i="0" u="none" strike="noStrike" cap="none">
                <a:solidFill>
                  <a:srgbClr val="A64D79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spcBef>
                <a:spcPts val="0"/>
              </a:spcBef>
              <a:spcAft>
                <a:spcPts val="0"/>
              </a:spcAft>
              <a:buNone/>
              <a:defRPr sz="800" b="0" i="0" u="none" strike="noStrike" cap="none">
                <a:solidFill>
                  <a:srgbClr val="A64D79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spcBef>
                <a:spcPts val="0"/>
              </a:spcBef>
              <a:spcAft>
                <a:spcPts val="0"/>
              </a:spcAft>
              <a:buNone/>
              <a:defRPr sz="800" b="0" i="0" u="none" strike="noStrike" cap="none">
                <a:solidFill>
                  <a:srgbClr val="A64D79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spcBef>
                <a:spcPts val="0"/>
              </a:spcBef>
              <a:spcAft>
                <a:spcPts val="0"/>
              </a:spcAft>
              <a:buNone/>
              <a:defRPr sz="800" b="0" i="0" u="none" strike="noStrike" cap="none">
                <a:solidFill>
                  <a:srgbClr val="A64D79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de-DE"/>
              <a:t>‹#›</a:t>
            </a:fld>
            <a:endParaRPr/>
          </a:p>
        </p:txBody>
      </p:sp>
      <p:grpSp>
        <p:nvGrpSpPr>
          <p:cNvPr id="14" name="Google Shape;14;p10"/>
          <p:cNvGrpSpPr/>
          <p:nvPr/>
        </p:nvGrpSpPr>
        <p:grpSpPr>
          <a:xfrm>
            <a:off x="9369425" y="5942013"/>
            <a:ext cx="1748710" cy="360000"/>
            <a:chOff x="8062460" y="5608800"/>
            <a:chExt cx="1748710" cy="360000"/>
          </a:xfrm>
        </p:grpSpPr>
        <p:pic>
          <p:nvPicPr>
            <p:cNvPr id="15" name="Google Shape;15;p10"/>
            <p:cNvPicPr preferRelativeResize="0"/>
            <p:nvPr/>
          </p:nvPicPr>
          <p:blipFill rotWithShape="1">
            <a:blip r:embed="rId15" cstate="screen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8062460" y="5608800"/>
              <a:ext cx="360000" cy="360000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6" name="Google Shape;16;p10"/>
            <p:cNvPicPr preferRelativeResize="0"/>
            <p:nvPr/>
          </p:nvPicPr>
          <p:blipFill rotWithShape="1">
            <a:blip r:embed="rId16" cstate="screen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8458877" y="5638376"/>
              <a:ext cx="1352293" cy="300847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50" r:id="rId1"/>
    <p:sldLayoutId id="2147483651" r:id="rId2"/>
    <p:sldLayoutId id="2147483652" r:id="rId3"/>
    <p:sldLayoutId id="2147483654" r:id="rId4"/>
    <p:sldLayoutId id="2147483655" r:id="rId5"/>
    <p:sldLayoutId id="2147483656" r:id="rId6"/>
    <p:sldLayoutId id="2147483657" r:id="rId7"/>
    <p:sldLayoutId id="2147483658" r:id="rId8"/>
    <p:sldLayoutId id="2147483659" r:id="rId9"/>
    <p:sldLayoutId id="2147483660" r:id="rId10"/>
    <p:sldLayoutId id="2147483661" r:id="rId11"/>
    <p:sldLayoutId id="2147483662" r:id="rId12"/>
    <p:sldLayoutId id="2147483663" r:id="rId13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041">
          <p15:clr>
            <a:srgbClr val="A4A3A4"/>
          </p15:clr>
        </p15:guide>
        <p15:guide id="2" pos="3742">
          <p15:clr>
            <a:srgbClr val="F26B43"/>
          </p15:clr>
        </p15:guide>
        <p15:guide id="3" orient="horz" pos="113">
          <p15:clr>
            <a:srgbClr val="F26B43"/>
          </p15:clr>
        </p15:guide>
        <p15:guide id="4" orient="horz" pos="386">
          <p15:clr>
            <a:srgbClr val="F26B43"/>
          </p15:clr>
        </p15:guide>
        <p15:guide id="5" orient="horz" pos="522">
          <p15:clr>
            <a:srgbClr val="F26B43"/>
          </p15:clr>
        </p15:guide>
        <p15:guide id="6" orient="horz" pos="3152">
          <p15:clr>
            <a:srgbClr val="A4A3A4"/>
          </p15:clr>
        </p15:guide>
        <p15:guide id="7" orient="horz" pos="3288">
          <p15:clr>
            <a:srgbClr val="A4A3A4"/>
          </p15:clr>
        </p15:guide>
        <p15:guide id="8" orient="horz" pos="3629">
          <p15:clr>
            <a:srgbClr val="F26B43"/>
          </p15:clr>
        </p15:guide>
        <p15:guide id="9" orient="horz" pos="3743">
          <p15:clr>
            <a:srgbClr val="F26B43"/>
          </p15:clr>
        </p15:guide>
        <p15:guide id="10" pos="7030">
          <p15:clr>
            <a:srgbClr val="F26B43"/>
          </p15:clr>
        </p15:guide>
        <p15:guide id="11" pos="3629">
          <p15:clr>
            <a:srgbClr val="A4A3A4"/>
          </p15:clr>
        </p15:guide>
        <p15:guide id="12" orient="horz" pos="658">
          <p15:clr>
            <a:srgbClr val="F26B43"/>
          </p15:clr>
        </p15:guide>
        <p15:guide id="13" orient="horz" pos="2200">
          <p15:clr>
            <a:srgbClr val="F26B43"/>
          </p15:clr>
        </p15:guide>
        <p15:guide id="14" pos="453">
          <p15:clr>
            <a:srgbClr val="F26B43"/>
          </p15:clr>
        </p15:guide>
        <p15:guide id="15" orient="horz" pos="839">
          <p15:clr>
            <a:srgbClr val="F26B43"/>
          </p15:clr>
        </p15:guide>
        <p15:guide id="16" pos="680">
          <p15:clr>
            <a:srgbClr val="F26B43"/>
          </p15:clr>
        </p15:guide>
        <p15:guide id="17" pos="6804">
          <p15:clr>
            <a:srgbClr val="F26B43"/>
          </p15:clr>
        </p15:guide>
        <p15:guide id="18" orient="horz" pos="3561">
          <p15:clr>
            <a:srgbClr val="F26B43"/>
          </p15:clr>
        </p15:guide>
        <p15:guide id="19" orient="horz" pos="3969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4.jpeg"/><Relationship Id="rId4" Type="http://schemas.openxmlformats.org/officeDocument/2006/relationships/image" Target="../media/image3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3.gi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jpeg"/><Relationship Id="rId3" Type="http://schemas.openxmlformats.org/officeDocument/2006/relationships/image" Target="../media/image10.png"/><Relationship Id="rId7" Type="http://schemas.openxmlformats.org/officeDocument/2006/relationships/image" Target="../media/image14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3.jpeg"/><Relationship Id="rId5" Type="http://schemas.openxmlformats.org/officeDocument/2006/relationships/image" Target="../media/image12.jpeg"/><Relationship Id="rId4" Type="http://schemas.openxmlformats.org/officeDocument/2006/relationships/image" Target="../media/image11.png"/><Relationship Id="rId9" Type="http://schemas.openxmlformats.org/officeDocument/2006/relationships/image" Target="../media/image16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youtube.com/watch?v=Kexq8G2AcZI" TargetMode="Externa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image" Target="../media/image17.png"/><Relationship Id="rId7" Type="http://schemas.openxmlformats.org/officeDocument/2006/relationships/image" Target="../media/image2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0.png"/><Relationship Id="rId5" Type="http://schemas.openxmlformats.org/officeDocument/2006/relationships/image" Target="../media/image19.jpeg"/><Relationship Id="rId4" Type="http://schemas.openxmlformats.org/officeDocument/2006/relationships/image" Target="../media/image18.jpeg"/><Relationship Id="rId9" Type="http://schemas.openxmlformats.org/officeDocument/2006/relationships/image" Target="../media/image23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6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9.gif"/><Relationship Id="rId4" Type="http://schemas.openxmlformats.org/officeDocument/2006/relationships/image" Target="../media/image28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1.gi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D1DAD3FC-AC32-1F42-8763-A312E0B7E881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blipFill dpi="0" rotWithShape="1">
            <a:blip r:embed="rId3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055508C-808B-6E42-A591-1D1C385A96C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CA422CD1-F813-BD4E-B4CC-E41DCCE581BA}"/>
              </a:ext>
            </a:extLst>
          </p:cNvPr>
          <p:cNvGrpSpPr/>
          <p:nvPr/>
        </p:nvGrpSpPr>
        <p:grpSpPr>
          <a:xfrm>
            <a:off x="731838" y="1601444"/>
            <a:ext cx="3289186" cy="3438869"/>
            <a:chOff x="747252" y="1189200"/>
            <a:chExt cx="3864505" cy="4040369"/>
          </a:xfrm>
        </p:grpSpPr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521F4E4B-B918-5245-B2D8-6C0B3487B97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148756" y="1189200"/>
              <a:ext cx="3061495" cy="3061495"/>
            </a:xfrm>
            <a:prstGeom prst="rect">
              <a:avLst/>
            </a:prstGeom>
          </p:spPr>
        </p:pic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F4E19EE6-4998-D94C-83FD-45795334E95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47252" y="4369826"/>
              <a:ext cx="3864505" cy="85974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56931357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3" name="Google Shape;193;p7"/>
          <p:cNvSpPr txBox="1">
            <a:spLocks noGrp="1"/>
          </p:cNvSpPr>
          <p:nvPr>
            <p:ph type="sldNum" idx="12"/>
          </p:nvPr>
        </p:nvSpPr>
        <p:spPr>
          <a:xfrm>
            <a:off x="179705" y="6178550"/>
            <a:ext cx="360600" cy="123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None/>
            </a:pPr>
            <a:fld id="{00000000-1234-1234-1234-123412341234}" type="slidenum">
              <a:rPr lang="de-DE"/>
              <a:t>10</a:t>
            </a:fld>
            <a:endParaRPr/>
          </a:p>
        </p:txBody>
      </p:sp>
      <p:sp>
        <p:nvSpPr>
          <p:cNvPr id="194" name="Google Shape;194;p7"/>
          <p:cNvSpPr txBox="1"/>
          <p:nvPr/>
        </p:nvSpPr>
        <p:spPr>
          <a:xfrm>
            <a:off x="1087119" y="256540"/>
            <a:ext cx="9333888" cy="584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lvl="0">
              <a:lnSpc>
                <a:spcPct val="102000"/>
              </a:lnSpc>
              <a:buClr>
                <a:srgbClr val="A64D79"/>
              </a:buClr>
              <a:buSzPts val="3200"/>
            </a:pPr>
            <a:r>
              <a:rPr lang="de-DE" sz="3200" dirty="0" err="1">
                <a:solidFill>
                  <a:srgbClr val="A64D79"/>
                </a:solidFill>
              </a:rPr>
              <a:t>Catching</a:t>
            </a:r>
            <a:r>
              <a:rPr lang="de-DE" sz="3200" dirty="0">
                <a:solidFill>
                  <a:srgbClr val="A64D79"/>
                </a:solidFill>
              </a:rPr>
              <a:t> </a:t>
            </a:r>
            <a:r>
              <a:rPr lang="de-DE" sz="3200" dirty="0" err="1">
                <a:solidFill>
                  <a:srgbClr val="A64D79"/>
                </a:solidFill>
              </a:rPr>
              <a:t>Pong</a:t>
            </a:r>
            <a:r>
              <a:rPr lang="de-DE" sz="3200" dirty="0">
                <a:solidFill>
                  <a:srgbClr val="A64D79"/>
                </a:solidFill>
              </a:rPr>
              <a:t> Balls </a:t>
            </a:r>
            <a:r>
              <a:rPr lang="de-DE" sz="3200" dirty="0" err="1">
                <a:solidFill>
                  <a:srgbClr val="A64D79"/>
                </a:solidFill>
              </a:rPr>
              <a:t>with</a:t>
            </a:r>
            <a:r>
              <a:rPr lang="de-DE" sz="3200" dirty="0">
                <a:solidFill>
                  <a:srgbClr val="A64D79"/>
                </a:solidFill>
              </a:rPr>
              <a:t> ITRI Arm - </a:t>
            </a:r>
            <a:r>
              <a:rPr lang="de-DE" sz="3200" dirty="0" err="1">
                <a:solidFill>
                  <a:srgbClr val="A64D79"/>
                </a:solidFill>
              </a:rPr>
              <a:t>Subtasks</a:t>
            </a:r>
            <a:endParaRPr sz="3200" b="0" i="0" u="none" strike="noStrike" cap="none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97" name="Google Shape;197;p7"/>
          <p:cNvSpPr txBox="1">
            <a:spLocks noGrp="1"/>
          </p:cNvSpPr>
          <p:nvPr>
            <p:ph type="body" idx="6"/>
          </p:nvPr>
        </p:nvSpPr>
        <p:spPr>
          <a:xfrm>
            <a:off x="719999" y="5761038"/>
            <a:ext cx="10440000" cy="179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45720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</a:pPr>
            <a:endParaRPr/>
          </a:p>
        </p:txBody>
      </p:sp>
      <p:pic>
        <p:nvPicPr>
          <p:cNvPr id="21" name="Picture 20" descr="A picture containing indoor, sitting, sink, black&#10;&#10;Description automatically generated">
            <a:extLst>
              <a:ext uri="{FF2B5EF4-FFF2-40B4-BE49-F238E27FC236}">
                <a16:creationId xmlns:a16="http://schemas.microsoft.com/office/drawing/2014/main" id="{89725E07-3723-4642-92D0-E21B9AC8D700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1580796" y="1991996"/>
            <a:ext cx="3362356" cy="3928614"/>
          </a:xfrm>
          <a:prstGeom prst="rect">
            <a:avLst/>
          </a:prstGeom>
          <a:ln w="19050">
            <a:noFill/>
            <a:prstDash val="dash"/>
          </a:ln>
        </p:spPr>
      </p:pic>
      <p:cxnSp>
        <p:nvCxnSpPr>
          <p:cNvPr id="31" name="Google Shape;195;p7">
            <a:extLst>
              <a:ext uri="{FF2B5EF4-FFF2-40B4-BE49-F238E27FC236}">
                <a16:creationId xmlns:a16="http://schemas.microsoft.com/office/drawing/2014/main" id="{A0DDD17F-B642-3E4E-87A5-3A1068BF39F4}"/>
              </a:ext>
            </a:extLst>
          </p:cNvPr>
          <p:cNvCxnSpPr/>
          <p:nvPr/>
        </p:nvCxnSpPr>
        <p:spPr>
          <a:xfrm>
            <a:off x="719136" y="929829"/>
            <a:ext cx="10440000" cy="0"/>
          </a:xfrm>
          <a:prstGeom prst="straightConnector1">
            <a:avLst/>
          </a:prstGeom>
          <a:noFill/>
          <a:ln w="38100" cap="flat" cmpd="sng">
            <a:solidFill>
              <a:srgbClr val="A64D79"/>
            </a:solidFill>
            <a:prstDash val="solid"/>
            <a:round/>
            <a:headEnd type="none" w="sm" len="sm"/>
            <a:tailEnd type="none" w="sm" len="sm"/>
          </a:ln>
        </p:spPr>
      </p:cxnSp>
      <p:grpSp>
        <p:nvGrpSpPr>
          <p:cNvPr id="39" name="Group 38">
            <a:extLst>
              <a:ext uri="{FF2B5EF4-FFF2-40B4-BE49-F238E27FC236}">
                <a16:creationId xmlns:a16="http://schemas.microsoft.com/office/drawing/2014/main" id="{7C906F4D-FCB9-E44A-A92A-38DEE7BF1B81}"/>
              </a:ext>
            </a:extLst>
          </p:cNvPr>
          <p:cNvGrpSpPr/>
          <p:nvPr/>
        </p:nvGrpSpPr>
        <p:grpSpPr>
          <a:xfrm>
            <a:off x="719136" y="1118385"/>
            <a:ext cx="10440000" cy="779629"/>
            <a:chOff x="719136" y="1048048"/>
            <a:chExt cx="10440000" cy="779629"/>
          </a:xfrm>
        </p:grpSpPr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6B71CF07-AD1C-AF4B-8422-659C5FD70714}"/>
                </a:ext>
              </a:extLst>
            </p:cNvPr>
            <p:cNvSpPr/>
            <p:nvPr/>
          </p:nvSpPr>
          <p:spPr>
            <a:xfrm>
              <a:off x="2901751" y="1048048"/>
              <a:ext cx="1745999" cy="779629"/>
            </a:xfrm>
            <a:prstGeom prst="rect">
              <a:avLst/>
            </a:prstGeom>
            <a:solidFill>
              <a:srgbClr val="A64D79">
                <a:alpha val="6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dirty="0"/>
                <a:t>3D Robot-Camera Calibration</a:t>
              </a:r>
            </a:p>
          </p:txBody>
        </p:sp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608C54A0-FE6E-DF4F-9B44-D1B74939C39B}"/>
                </a:ext>
              </a:extLst>
            </p:cNvPr>
            <p:cNvSpPr/>
            <p:nvPr/>
          </p:nvSpPr>
          <p:spPr>
            <a:xfrm>
              <a:off x="5072213" y="1048048"/>
              <a:ext cx="1745999" cy="779629"/>
            </a:xfrm>
            <a:prstGeom prst="rect">
              <a:avLst/>
            </a:prstGeom>
            <a:solidFill>
              <a:srgbClr val="A64D79">
                <a:alpha val="6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latin typeface="Arial" panose="020B0604020202020204" pitchFamily="34" charset="0"/>
                </a:rPr>
                <a:t>Ball Detection</a:t>
              </a:r>
              <a:endParaRPr lang="en-US" dirty="0">
                <a:latin typeface="-webkit-standard"/>
              </a:endParaRPr>
            </a:p>
          </p:txBody>
        </p:sp>
        <p:sp>
          <p:nvSpPr>
            <p:cNvPr id="45" name="Rectangle 44">
              <a:extLst>
                <a:ext uri="{FF2B5EF4-FFF2-40B4-BE49-F238E27FC236}">
                  <a16:creationId xmlns:a16="http://schemas.microsoft.com/office/drawing/2014/main" id="{4228A691-1A02-EF46-96FC-BD3865558696}"/>
                </a:ext>
              </a:extLst>
            </p:cNvPr>
            <p:cNvSpPr/>
            <p:nvPr/>
          </p:nvSpPr>
          <p:spPr>
            <a:xfrm>
              <a:off x="7242675" y="1048048"/>
              <a:ext cx="1745999" cy="779629"/>
            </a:xfrm>
            <a:prstGeom prst="rect">
              <a:avLst/>
            </a:prstGeom>
            <a:solidFill>
              <a:srgbClr val="A64D79">
                <a:alpha val="6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latin typeface="Arial" panose="020B0604020202020204" pitchFamily="34" charset="0"/>
                </a:rPr>
                <a:t>Ball Trajectory Estimation</a:t>
              </a:r>
              <a:endParaRPr lang="en-US" dirty="0">
                <a:latin typeface="-webkit-standard"/>
              </a:endParaRPr>
            </a:p>
          </p:txBody>
        </p:sp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id="{C23969D1-87E0-2E49-AB8C-65971515C91C}"/>
                </a:ext>
              </a:extLst>
            </p:cNvPr>
            <p:cNvSpPr/>
            <p:nvPr/>
          </p:nvSpPr>
          <p:spPr>
            <a:xfrm>
              <a:off x="9413137" y="1048048"/>
              <a:ext cx="1745999" cy="779629"/>
            </a:xfrm>
            <a:prstGeom prst="rect">
              <a:avLst/>
            </a:prstGeom>
            <a:solidFill>
              <a:srgbClr val="A64D7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latin typeface="Arial" panose="020B0604020202020204" pitchFamily="34" charset="0"/>
                </a:rPr>
                <a:t>Robot Movement</a:t>
              </a:r>
              <a:endParaRPr lang="en-US" dirty="0">
                <a:latin typeface="-webkit-standard"/>
              </a:endParaRPr>
            </a:p>
          </p:txBody>
        </p:sp>
        <p:sp>
          <p:nvSpPr>
            <p:cNvPr id="47" name="Rectangle 46">
              <a:extLst>
                <a:ext uri="{FF2B5EF4-FFF2-40B4-BE49-F238E27FC236}">
                  <a16:creationId xmlns:a16="http://schemas.microsoft.com/office/drawing/2014/main" id="{BE96D334-A807-5F48-911D-CA941FF428E2}"/>
                </a:ext>
              </a:extLst>
            </p:cNvPr>
            <p:cNvSpPr/>
            <p:nvPr/>
          </p:nvSpPr>
          <p:spPr>
            <a:xfrm>
              <a:off x="719136" y="1048048"/>
              <a:ext cx="1745999" cy="779629"/>
            </a:xfrm>
            <a:prstGeom prst="rect">
              <a:avLst/>
            </a:prstGeom>
            <a:solidFill>
              <a:srgbClr val="A64D79">
                <a:alpha val="6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dirty="0"/>
                <a:t>TCP – Connection</a:t>
              </a:r>
            </a:p>
          </p:txBody>
        </p:sp>
      </p:grpSp>
      <p:cxnSp>
        <p:nvCxnSpPr>
          <p:cNvPr id="52" name="Google Shape;163;p5">
            <a:extLst>
              <a:ext uri="{FF2B5EF4-FFF2-40B4-BE49-F238E27FC236}">
                <a16:creationId xmlns:a16="http://schemas.microsoft.com/office/drawing/2014/main" id="{B623125A-B761-F144-87EC-0C5D1BF80C09}"/>
              </a:ext>
            </a:extLst>
          </p:cNvPr>
          <p:cNvCxnSpPr/>
          <p:nvPr/>
        </p:nvCxnSpPr>
        <p:spPr>
          <a:xfrm>
            <a:off x="719136" y="2086569"/>
            <a:ext cx="10440000" cy="0"/>
          </a:xfrm>
          <a:prstGeom prst="straightConnector1">
            <a:avLst/>
          </a:prstGeom>
          <a:noFill/>
          <a:ln w="25400" cap="flat" cmpd="sng">
            <a:solidFill>
              <a:srgbClr val="A64D79"/>
            </a:solidFill>
            <a:prstDash val="dash"/>
            <a:round/>
            <a:headEnd type="none" w="sm" len="sm"/>
            <a:tailEnd type="none" w="sm" len="sm"/>
          </a:ln>
        </p:spPr>
      </p:cxnSp>
      <p:pic>
        <p:nvPicPr>
          <p:cNvPr id="6" name="Picture 5">
            <a:extLst>
              <a:ext uri="{FF2B5EF4-FFF2-40B4-BE49-F238E27FC236}">
                <a16:creationId xmlns:a16="http://schemas.microsoft.com/office/drawing/2014/main" id="{AEE5BF96-5699-D04C-BAC5-1709F0EB69C3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39742" y="2288322"/>
            <a:ext cx="1902973" cy="3384121"/>
          </a:xfrm>
          <a:prstGeom prst="rect">
            <a:avLst/>
          </a:prstGeom>
        </p:spPr>
      </p:pic>
      <p:cxnSp>
        <p:nvCxnSpPr>
          <p:cNvPr id="57" name="Straight Arrow Connector 56">
            <a:extLst>
              <a:ext uri="{FF2B5EF4-FFF2-40B4-BE49-F238E27FC236}">
                <a16:creationId xmlns:a16="http://schemas.microsoft.com/office/drawing/2014/main" id="{AD669F77-78FB-A84A-8D10-89BE7EB30FD9}"/>
              </a:ext>
            </a:extLst>
          </p:cNvPr>
          <p:cNvCxnSpPr>
            <a:cxnSpLocks/>
          </p:cNvCxnSpPr>
          <p:nvPr/>
        </p:nvCxnSpPr>
        <p:spPr>
          <a:xfrm>
            <a:off x="2448510" y="1508200"/>
            <a:ext cx="436616" cy="0"/>
          </a:xfrm>
          <a:prstGeom prst="straightConnector1">
            <a:avLst/>
          </a:prstGeom>
          <a:solidFill>
            <a:srgbClr val="A64D79">
              <a:alpha val="54000"/>
            </a:srgbClr>
          </a:solidFill>
          <a:ln w="47625">
            <a:solidFill>
              <a:srgbClr val="A64D79">
                <a:alpha val="60000"/>
              </a:srgb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Straight Arrow Connector 57">
            <a:extLst>
              <a:ext uri="{FF2B5EF4-FFF2-40B4-BE49-F238E27FC236}">
                <a16:creationId xmlns:a16="http://schemas.microsoft.com/office/drawing/2014/main" id="{8C295343-F92B-7646-9335-53BACD96EFEE}"/>
              </a:ext>
            </a:extLst>
          </p:cNvPr>
          <p:cNvCxnSpPr>
            <a:cxnSpLocks/>
          </p:cNvCxnSpPr>
          <p:nvPr/>
        </p:nvCxnSpPr>
        <p:spPr>
          <a:xfrm>
            <a:off x="4647750" y="1508200"/>
            <a:ext cx="424463" cy="0"/>
          </a:xfrm>
          <a:prstGeom prst="straightConnector1">
            <a:avLst/>
          </a:prstGeom>
          <a:solidFill>
            <a:srgbClr val="A64D79">
              <a:alpha val="54000"/>
            </a:srgbClr>
          </a:solidFill>
          <a:ln w="47625">
            <a:solidFill>
              <a:srgbClr val="A64D79">
                <a:alpha val="60000"/>
              </a:srgb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Straight Arrow Connector 58">
            <a:extLst>
              <a:ext uri="{FF2B5EF4-FFF2-40B4-BE49-F238E27FC236}">
                <a16:creationId xmlns:a16="http://schemas.microsoft.com/office/drawing/2014/main" id="{5F2110A0-33EE-E24D-B483-BC8B219C61F1}"/>
              </a:ext>
            </a:extLst>
          </p:cNvPr>
          <p:cNvCxnSpPr>
            <a:cxnSpLocks/>
          </p:cNvCxnSpPr>
          <p:nvPr/>
        </p:nvCxnSpPr>
        <p:spPr>
          <a:xfrm>
            <a:off x="6818212" y="1508200"/>
            <a:ext cx="424463" cy="0"/>
          </a:xfrm>
          <a:prstGeom prst="straightConnector1">
            <a:avLst/>
          </a:prstGeom>
          <a:solidFill>
            <a:srgbClr val="A64D79">
              <a:alpha val="54000"/>
            </a:srgbClr>
          </a:solidFill>
          <a:ln w="47625">
            <a:solidFill>
              <a:srgbClr val="A64D79">
                <a:alpha val="60000"/>
              </a:srgb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Straight Arrow Connector 59">
            <a:extLst>
              <a:ext uri="{FF2B5EF4-FFF2-40B4-BE49-F238E27FC236}">
                <a16:creationId xmlns:a16="http://schemas.microsoft.com/office/drawing/2014/main" id="{8F164CD6-DAB7-0140-9CAC-764D0AEF9562}"/>
              </a:ext>
            </a:extLst>
          </p:cNvPr>
          <p:cNvCxnSpPr>
            <a:cxnSpLocks/>
          </p:cNvCxnSpPr>
          <p:nvPr/>
        </p:nvCxnSpPr>
        <p:spPr>
          <a:xfrm>
            <a:off x="8988674" y="1508200"/>
            <a:ext cx="437416" cy="0"/>
          </a:xfrm>
          <a:prstGeom prst="straightConnector1">
            <a:avLst/>
          </a:prstGeom>
          <a:solidFill>
            <a:srgbClr val="A64D79">
              <a:alpha val="54000"/>
            </a:srgbClr>
          </a:solidFill>
          <a:ln w="47625">
            <a:solidFill>
              <a:srgbClr val="A64D79">
                <a:alpha val="60000"/>
              </a:srgb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Google Shape;165;p5">
            <a:extLst>
              <a:ext uri="{FF2B5EF4-FFF2-40B4-BE49-F238E27FC236}">
                <a16:creationId xmlns:a16="http://schemas.microsoft.com/office/drawing/2014/main" id="{3308B958-80DF-2941-BC4C-364E7678DAAA}"/>
              </a:ext>
            </a:extLst>
          </p:cNvPr>
          <p:cNvSpPr txBox="1"/>
          <p:nvPr/>
        </p:nvSpPr>
        <p:spPr>
          <a:xfrm>
            <a:off x="719138" y="6177600"/>
            <a:ext cx="7200000" cy="1231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de-DE" sz="800" b="0" u="none" dirty="0">
                <a:solidFill>
                  <a:srgbClr val="A64D79"/>
                </a:solidFill>
                <a:latin typeface="Arial"/>
                <a:ea typeface="Arial"/>
                <a:cs typeface="Arial"/>
                <a:sym typeface="Arial"/>
              </a:rPr>
              <a:t>Group 15 – </a:t>
            </a:r>
            <a:r>
              <a:rPr lang="de-DE" sz="800" b="0" u="none" dirty="0" err="1">
                <a:solidFill>
                  <a:srgbClr val="A64D79"/>
                </a:solidFill>
                <a:latin typeface="Arial"/>
                <a:ea typeface="Arial"/>
                <a:cs typeface="Arial"/>
                <a:sym typeface="Arial"/>
              </a:rPr>
              <a:t>RoboPong</a:t>
            </a:r>
            <a:r>
              <a:rPr lang="de-DE" sz="800" b="0" u="none" dirty="0">
                <a:solidFill>
                  <a:srgbClr val="A64D79"/>
                </a:solidFill>
                <a:latin typeface="Arial"/>
                <a:ea typeface="Arial"/>
                <a:cs typeface="Arial"/>
                <a:sym typeface="Arial"/>
              </a:rPr>
              <a:t> | Final </a:t>
            </a:r>
            <a:r>
              <a:rPr lang="de-DE" sz="800" b="0" u="none" dirty="0" err="1">
                <a:solidFill>
                  <a:srgbClr val="A64D79"/>
                </a:solidFill>
                <a:latin typeface="Arial"/>
                <a:ea typeface="Arial"/>
                <a:cs typeface="Arial"/>
                <a:sym typeface="Arial"/>
              </a:rPr>
              <a:t>Presentation</a:t>
            </a:r>
            <a:r>
              <a:rPr lang="de-DE" sz="800" b="0" u="none" dirty="0">
                <a:solidFill>
                  <a:srgbClr val="A64D79"/>
                </a:solidFill>
                <a:latin typeface="Arial"/>
                <a:ea typeface="Arial"/>
                <a:cs typeface="Arial"/>
                <a:sym typeface="Arial"/>
              </a:rPr>
              <a:t> |  CSIE5047 – </a:t>
            </a:r>
            <a:r>
              <a:rPr lang="de-DE" sz="800" b="0" u="none" dirty="0" err="1">
                <a:solidFill>
                  <a:srgbClr val="A64D79"/>
                </a:solidFill>
                <a:latin typeface="Arial"/>
                <a:ea typeface="Arial"/>
                <a:cs typeface="Arial"/>
                <a:sym typeface="Arial"/>
              </a:rPr>
              <a:t>Robotics</a:t>
            </a:r>
            <a:r>
              <a:rPr lang="de-DE" sz="800" b="0" u="none" dirty="0">
                <a:solidFill>
                  <a:srgbClr val="A64D79"/>
                </a:solidFill>
                <a:latin typeface="Arial"/>
                <a:ea typeface="Arial"/>
                <a:cs typeface="Arial"/>
                <a:sym typeface="Arial"/>
              </a:rPr>
              <a:t> | 2019/11/18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4340030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4BF96C03-7E82-6447-A7FF-C03B1785185F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blipFill dpi="0" rotWithShape="1">
            <a:blip r:embed="rId3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26CAD0B-ABC7-9E49-BBB6-57F7E963024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79C86BD5-4AAB-424E-B8F4-862FCA84F938}"/>
              </a:ext>
            </a:extLst>
          </p:cNvPr>
          <p:cNvGrpSpPr/>
          <p:nvPr/>
        </p:nvGrpSpPr>
        <p:grpSpPr>
          <a:xfrm>
            <a:off x="6246200" y="2299384"/>
            <a:ext cx="4759078" cy="2533469"/>
            <a:chOff x="6246200" y="2299384"/>
            <a:chExt cx="4759078" cy="2533469"/>
          </a:xfrm>
        </p:grpSpPr>
        <p:sp>
          <p:nvSpPr>
            <p:cNvPr id="6" name="Textplatzhalter 31">
              <a:extLst>
                <a:ext uri="{FF2B5EF4-FFF2-40B4-BE49-F238E27FC236}">
                  <a16:creationId xmlns:a16="http://schemas.microsoft.com/office/drawing/2014/main" id="{5602CFF7-BBEC-D94E-A6C5-0B4E5AF4D93D}"/>
                </a:ext>
              </a:extLst>
            </p:cNvPr>
            <p:cNvSpPr txBox="1">
              <a:spLocks/>
            </p:cNvSpPr>
            <p:nvPr/>
          </p:nvSpPr>
          <p:spPr>
            <a:xfrm>
              <a:off x="6448418" y="2299384"/>
              <a:ext cx="3813786" cy="787021"/>
            </a:xfrm>
            <a:prstGeom prst="rect">
              <a:avLst/>
            </a:prstGeom>
          </p:spPr>
          <p:txBody>
            <a:bodyPr anchor="b"/>
            <a:lstStyle>
              <a:lvl1pPr marL="0" indent="0" algn="l" rtl="0" eaLnBrk="1" fontAlgn="base" hangingPunct="1">
                <a:spcBef>
                  <a:spcPts val="0"/>
                </a:spcBef>
                <a:spcAft>
                  <a:spcPts val="600"/>
                </a:spcAft>
                <a:buFont typeface="Arial" panose="020B0604020202020204" pitchFamily="34" charset="0"/>
                <a:buNone/>
                <a:defRPr sz="2400" b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701846" indent="-284400" algn="l" rtl="0" eaLnBrk="1" fontAlgn="base" hangingPunct="1">
                <a:spcBef>
                  <a:spcPts val="0"/>
                </a:spcBef>
                <a:spcAft>
                  <a:spcPts val="600"/>
                </a:spcAft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+mn-lt"/>
                </a:defRPr>
              </a:lvl2pPr>
              <a:lvl3pPr marL="1079763" indent="-215954" algn="l" rtl="0" eaLnBrk="1" fontAlgn="base" hangingPunct="1">
                <a:spcBef>
                  <a:spcPts val="0"/>
                </a:spcBef>
                <a:spcAft>
                  <a:spcPts val="600"/>
                </a:spcAft>
                <a:buFont typeface="Arial" panose="020B0604020202020204" pitchFamily="34" charset="0"/>
                <a:buChar char="•"/>
                <a:defRPr sz="1200">
                  <a:solidFill>
                    <a:schemeClr val="tx1"/>
                  </a:solidFill>
                  <a:latin typeface="+mn-lt"/>
                </a:defRPr>
              </a:lvl3pPr>
              <a:lvl4pPr marL="1511670" indent="-215954" algn="l" rtl="0" eaLnBrk="1" fontAlgn="base" hangingPunct="1">
                <a:spcBef>
                  <a:spcPts val="0"/>
                </a:spcBef>
                <a:spcAft>
                  <a:spcPts val="600"/>
                </a:spcAft>
                <a:buFont typeface="Arial" panose="020B0604020202020204" pitchFamily="34" charset="0"/>
                <a:buChar char="•"/>
                <a:defRPr sz="1200">
                  <a:solidFill>
                    <a:schemeClr val="tx1"/>
                  </a:solidFill>
                  <a:latin typeface="+mn-lt"/>
                </a:defRPr>
              </a:lvl4pPr>
              <a:lvl5pPr marL="1943573" indent="-215954" algn="l" rtl="0" eaLnBrk="1" fontAlgn="base" hangingPunct="1">
                <a:spcBef>
                  <a:spcPts val="0"/>
                </a:spcBef>
                <a:spcAft>
                  <a:spcPts val="600"/>
                </a:spcAft>
                <a:buFont typeface="Arial" panose="020B0604020202020204" pitchFamily="34" charset="0"/>
                <a:buChar char="•"/>
                <a:defRPr sz="1200">
                  <a:solidFill>
                    <a:schemeClr val="tx1"/>
                  </a:solidFill>
                  <a:latin typeface="+mn-lt"/>
                </a:defRPr>
              </a:lvl5pPr>
              <a:lvl6pPr marL="2375480" indent="-215954" algn="l" rtl="0" eaLnBrk="1" fontAlgn="base" hangingPunct="1">
                <a:spcBef>
                  <a:spcPct val="20000"/>
                </a:spcBef>
                <a:spcAft>
                  <a:spcPct val="0"/>
                </a:spcAft>
                <a:buFont typeface="Wingdings" pitchFamily="2" charset="2"/>
                <a:buChar char="§"/>
                <a:defRPr sz="1512">
                  <a:solidFill>
                    <a:schemeClr val="tx1"/>
                  </a:solidFill>
                  <a:latin typeface="+mn-lt"/>
                </a:defRPr>
              </a:lvl6pPr>
              <a:lvl7pPr marL="2807386" indent="-215954" algn="l" rtl="0" eaLnBrk="1" fontAlgn="base" hangingPunct="1">
                <a:spcBef>
                  <a:spcPct val="20000"/>
                </a:spcBef>
                <a:spcAft>
                  <a:spcPct val="0"/>
                </a:spcAft>
                <a:buFont typeface="Wingdings" pitchFamily="2" charset="2"/>
                <a:buChar char="§"/>
                <a:defRPr sz="1512">
                  <a:solidFill>
                    <a:schemeClr val="tx1"/>
                  </a:solidFill>
                  <a:latin typeface="+mn-lt"/>
                </a:defRPr>
              </a:lvl7pPr>
              <a:lvl8pPr marL="3239291" indent="-215954" algn="l" rtl="0" eaLnBrk="1" fontAlgn="base" hangingPunct="1">
                <a:spcBef>
                  <a:spcPct val="20000"/>
                </a:spcBef>
                <a:spcAft>
                  <a:spcPct val="0"/>
                </a:spcAft>
                <a:buFont typeface="Wingdings" pitchFamily="2" charset="2"/>
                <a:buChar char="§"/>
                <a:defRPr sz="1512">
                  <a:solidFill>
                    <a:schemeClr val="tx1"/>
                  </a:solidFill>
                  <a:latin typeface="+mn-lt"/>
                </a:defRPr>
              </a:lvl8pPr>
              <a:lvl9pPr marL="3671195" indent="-215954" algn="l" rtl="0" eaLnBrk="1" fontAlgn="base" hangingPunct="1">
                <a:spcBef>
                  <a:spcPct val="20000"/>
                </a:spcBef>
                <a:spcAft>
                  <a:spcPct val="0"/>
                </a:spcAft>
                <a:buFont typeface="Wingdings" pitchFamily="2" charset="2"/>
                <a:buChar char="§"/>
                <a:defRPr sz="1512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algn="ctr"/>
              <a:r>
                <a:rPr lang="de-DE" kern="0" dirty="0" err="1">
                  <a:solidFill>
                    <a:srgbClr val="A64D79"/>
                  </a:solidFill>
                </a:rPr>
                <a:t>We</a:t>
              </a:r>
              <a:r>
                <a:rPr lang="de-DE" kern="0" dirty="0">
                  <a:solidFill>
                    <a:srgbClr val="A64D79"/>
                  </a:solidFill>
                </a:rPr>
                <a:t> </a:t>
              </a:r>
              <a:r>
                <a:rPr lang="de-DE" kern="0" dirty="0" err="1">
                  <a:solidFill>
                    <a:srgbClr val="A64D79"/>
                  </a:solidFill>
                </a:rPr>
                <a:t>are</a:t>
              </a:r>
              <a:r>
                <a:rPr lang="de-DE" kern="0" dirty="0">
                  <a:solidFill>
                    <a:srgbClr val="A64D79"/>
                  </a:solidFill>
                </a:rPr>
                <a:t> </a:t>
              </a:r>
              <a:r>
                <a:rPr lang="de-DE" kern="0" dirty="0" err="1">
                  <a:solidFill>
                    <a:srgbClr val="A64D79"/>
                  </a:solidFill>
                </a:rPr>
                <a:t>looking</a:t>
              </a:r>
              <a:r>
                <a:rPr lang="de-DE" kern="0" dirty="0">
                  <a:solidFill>
                    <a:srgbClr val="A64D79"/>
                  </a:solidFill>
                </a:rPr>
                <a:t> </a:t>
              </a:r>
              <a:r>
                <a:rPr lang="de-DE" kern="0" dirty="0" err="1">
                  <a:solidFill>
                    <a:srgbClr val="A64D79"/>
                  </a:solidFill>
                </a:rPr>
                <a:t>forward</a:t>
              </a:r>
              <a:r>
                <a:rPr lang="de-DE" kern="0" dirty="0">
                  <a:solidFill>
                    <a:srgbClr val="A64D79"/>
                  </a:solidFill>
                </a:rPr>
                <a:t> </a:t>
              </a:r>
              <a:r>
                <a:rPr lang="de-DE" kern="0" dirty="0" err="1">
                  <a:solidFill>
                    <a:srgbClr val="A64D79"/>
                  </a:solidFill>
                </a:rPr>
                <a:t>to</a:t>
              </a:r>
              <a:r>
                <a:rPr lang="de-DE" kern="0" dirty="0">
                  <a:solidFill>
                    <a:srgbClr val="A64D79"/>
                  </a:solidFill>
                </a:rPr>
                <a:t> </a:t>
              </a:r>
              <a:r>
                <a:rPr lang="de-DE" kern="0" dirty="0" err="1">
                  <a:solidFill>
                    <a:srgbClr val="A64D79"/>
                  </a:solidFill>
                </a:rPr>
                <a:t>your</a:t>
              </a:r>
              <a:r>
                <a:rPr lang="de-DE" kern="0" dirty="0">
                  <a:solidFill>
                    <a:srgbClr val="A64D79"/>
                  </a:solidFill>
                </a:rPr>
                <a:t> </a:t>
              </a:r>
              <a:r>
                <a:rPr lang="de-DE" kern="0" dirty="0" err="1">
                  <a:solidFill>
                    <a:srgbClr val="A64D79"/>
                  </a:solidFill>
                </a:rPr>
                <a:t>questions</a:t>
              </a:r>
              <a:r>
                <a:rPr lang="de-DE" kern="0" dirty="0">
                  <a:solidFill>
                    <a:srgbClr val="A64D79"/>
                  </a:solidFill>
                </a:rPr>
                <a:t>!</a:t>
              </a:r>
            </a:p>
          </p:txBody>
        </p:sp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8FAA823A-2360-B545-9B18-DF09A9F75C15}"/>
                </a:ext>
              </a:extLst>
            </p:cNvPr>
            <p:cNvGrpSpPr/>
            <p:nvPr/>
          </p:nvGrpSpPr>
          <p:grpSpPr>
            <a:xfrm>
              <a:off x="6246200" y="3274372"/>
              <a:ext cx="4759078" cy="1558481"/>
              <a:chOff x="6246200" y="3274372"/>
              <a:chExt cx="4759078" cy="1558481"/>
            </a:xfrm>
          </p:grpSpPr>
          <p:sp>
            <p:nvSpPr>
              <p:cNvPr id="8" name="Textplatzhalter 31">
                <a:extLst>
                  <a:ext uri="{FF2B5EF4-FFF2-40B4-BE49-F238E27FC236}">
                    <a16:creationId xmlns:a16="http://schemas.microsoft.com/office/drawing/2014/main" id="{2C5ACF2C-5FF5-1742-A2B3-D7C398820CED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246200" y="4159021"/>
                <a:ext cx="2478075" cy="673832"/>
              </a:xfrm>
              <a:prstGeom prst="rect">
                <a:avLst/>
              </a:prstGeom>
            </p:spPr>
            <p:txBody>
              <a:bodyPr anchor="t"/>
              <a:lstStyle>
                <a:lvl1pPr marL="0" indent="0" algn="l" rtl="0" eaLnBrk="1" fontAlgn="base" hangingPunct="1">
                  <a:spcBef>
                    <a:spcPts val="0"/>
                  </a:spcBef>
                  <a:spcAft>
                    <a:spcPts val="600"/>
                  </a:spcAft>
                  <a:buFont typeface="Arial" panose="020B0604020202020204" pitchFamily="34" charset="0"/>
                  <a:buNone/>
                  <a:defRPr sz="1400" b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701846" indent="-284400" algn="l" rtl="0" eaLnBrk="1" fontAlgn="base" hangingPunct="1">
                  <a:spcBef>
                    <a:spcPts val="0"/>
                  </a:spcBef>
                  <a:spcAft>
                    <a:spcPts val="600"/>
                  </a:spcAft>
                  <a:buFont typeface="Arial" panose="020B0604020202020204" pitchFamily="34" charset="0"/>
                  <a:buChar char="•"/>
                  <a:defRPr sz="1400">
                    <a:solidFill>
                      <a:schemeClr val="tx1"/>
                    </a:solidFill>
                    <a:latin typeface="+mn-lt"/>
                  </a:defRPr>
                </a:lvl2pPr>
                <a:lvl3pPr marL="1079763" indent="-215954" algn="l" rtl="0" eaLnBrk="1" fontAlgn="base" hangingPunct="1">
                  <a:spcBef>
                    <a:spcPts val="0"/>
                  </a:spcBef>
                  <a:spcAft>
                    <a:spcPts val="600"/>
                  </a:spcAft>
                  <a:buFont typeface="Arial" panose="020B0604020202020204" pitchFamily="34" charset="0"/>
                  <a:buChar char="•"/>
                  <a:defRPr sz="1200">
                    <a:solidFill>
                      <a:schemeClr val="tx1"/>
                    </a:solidFill>
                    <a:latin typeface="+mn-lt"/>
                  </a:defRPr>
                </a:lvl3pPr>
                <a:lvl4pPr marL="1511670" indent="-215954" algn="l" rtl="0" eaLnBrk="1" fontAlgn="base" hangingPunct="1">
                  <a:spcBef>
                    <a:spcPts val="0"/>
                  </a:spcBef>
                  <a:spcAft>
                    <a:spcPts val="600"/>
                  </a:spcAft>
                  <a:buFont typeface="Arial" panose="020B0604020202020204" pitchFamily="34" charset="0"/>
                  <a:buChar char="•"/>
                  <a:defRPr sz="1200">
                    <a:solidFill>
                      <a:schemeClr val="tx1"/>
                    </a:solidFill>
                    <a:latin typeface="+mn-lt"/>
                  </a:defRPr>
                </a:lvl4pPr>
                <a:lvl5pPr marL="1943573" indent="-215954" algn="l" rtl="0" eaLnBrk="1" fontAlgn="base" hangingPunct="1">
                  <a:spcBef>
                    <a:spcPts val="0"/>
                  </a:spcBef>
                  <a:spcAft>
                    <a:spcPts val="600"/>
                  </a:spcAft>
                  <a:buFont typeface="Arial" panose="020B0604020202020204" pitchFamily="34" charset="0"/>
                  <a:buChar char="•"/>
                  <a:defRPr sz="1200">
                    <a:solidFill>
                      <a:schemeClr val="tx1"/>
                    </a:solidFill>
                    <a:latin typeface="+mn-lt"/>
                  </a:defRPr>
                </a:lvl5pPr>
                <a:lvl6pPr marL="2375480" indent="-215954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Font typeface="Wingdings" pitchFamily="2" charset="2"/>
                  <a:buChar char="§"/>
                  <a:defRPr sz="1512">
                    <a:solidFill>
                      <a:schemeClr val="tx1"/>
                    </a:solidFill>
                    <a:latin typeface="+mn-lt"/>
                  </a:defRPr>
                </a:lvl6pPr>
                <a:lvl7pPr marL="2807386" indent="-215954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Font typeface="Wingdings" pitchFamily="2" charset="2"/>
                  <a:buChar char="§"/>
                  <a:defRPr sz="1512">
                    <a:solidFill>
                      <a:schemeClr val="tx1"/>
                    </a:solidFill>
                    <a:latin typeface="+mn-lt"/>
                  </a:defRPr>
                </a:lvl7pPr>
                <a:lvl8pPr marL="3239291" indent="-215954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Font typeface="Wingdings" pitchFamily="2" charset="2"/>
                  <a:buChar char="§"/>
                  <a:defRPr sz="1512">
                    <a:solidFill>
                      <a:schemeClr val="tx1"/>
                    </a:solidFill>
                    <a:latin typeface="+mn-lt"/>
                  </a:defRPr>
                </a:lvl8pPr>
                <a:lvl9pPr marL="3671195" indent="-215954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Font typeface="Wingdings" pitchFamily="2" charset="2"/>
                  <a:buChar char="§"/>
                  <a:defRPr sz="1512">
                    <a:solidFill>
                      <a:schemeClr val="tx1"/>
                    </a:solidFill>
                    <a:latin typeface="+mn-lt"/>
                  </a:defRPr>
                </a:lvl9pPr>
              </a:lstStyle>
              <a:p>
                <a:r>
                  <a:rPr lang="de-DE" kern="0" dirty="0">
                    <a:solidFill>
                      <a:srgbClr val="A64D79"/>
                    </a:solidFill>
                  </a:rPr>
                  <a:t>Clarissa Hamann </a:t>
                </a:r>
                <a:br>
                  <a:rPr lang="de-DE" kern="0" dirty="0"/>
                </a:br>
                <a:r>
                  <a:rPr lang="de-DE" kern="0" dirty="0"/>
                  <a:t>Technical University </a:t>
                </a:r>
                <a:br>
                  <a:rPr lang="de-DE" kern="0" dirty="0"/>
                </a:br>
                <a:r>
                  <a:rPr lang="de-DE" kern="0" dirty="0" err="1"/>
                  <a:t>Munich</a:t>
                </a:r>
                <a:endParaRPr lang="de-DE" kern="0" dirty="0"/>
              </a:p>
              <a:p>
                <a:endParaRPr lang="de-DE" kern="0" dirty="0"/>
              </a:p>
            </p:txBody>
          </p:sp>
          <p:sp>
            <p:nvSpPr>
              <p:cNvPr id="10" name="Textplatzhalter 31">
                <a:extLst>
                  <a:ext uri="{FF2B5EF4-FFF2-40B4-BE49-F238E27FC236}">
                    <a16:creationId xmlns:a16="http://schemas.microsoft.com/office/drawing/2014/main" id="{61FD5DCE-EF7C-D646-B843-C2E32DFE915B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246200" y="3274372"/>
                <a:ext cx="2478075" cy="673832"/>
              </a:xfrm>
              <a:prstGeom prst="rect">
                <a:avLst/>
              </a:prstGeom>
            </p:spPr>
            <p:txBody>
              <a:bodyPr anchor="t"/>
              <a:lstStyle>
                <a:lvl1pPr marL="0" indent="0" algn="l" rtl="0" eaLnBrk="1" fontAlgn="base" hangingPunct="1">
                  <a:spcBef>
                    <a:spcPts val="0"/>
                  </a:spcBef>
                  <a:spcAft>
                    <a:spcPts val="600"/>
                  </a:spcAft>
                  <a:buFont typeface="Arial" panose="020B0604020202020204" pitchFamily="34" charset="0"/>
                  <a:buNone/>
                  <a:defRPr sz="1400" b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701846" indent="-284400" algn="l" rtl="0" eaLnBrk="1" fontAlgn="base" hangingPunct="1">
                  <a:spcBef>
                    <a:spcPts val="0"/>
                  </a:spcBef>
                  <a:spcAft>
                    <a:spcPts val="600"/>
                  </a:spcAft>
                  <a:buFont typeface="Arial" panose="020B0604020202020204" pitchFamily="34" charset="0"/>
                  <a:buChar char="•"/>
                  <a:defRPr sz="1400">
                    <a:solidFill>
                      <a:schemeClr val="tx1"/>
                    </a:solidFill>
                    <a:latin typeface="+mn-lt"/>
                  </a:defRPr>
                </a:lvl2pPr>
                <a:lvl3pPr marL="1079763" indent="-215954" algn="l" rtl="0" eaLnBrk="1" fontAlgn="base" hangingPunct="1">
                  <a:spcBef>
                    <a:spcPts val="0"/>
                  </a:spcBef>
                  <a:spcAft>
                    <a:spcPts val="600"/>
                  </a:spcAft>
                  <a:buFont typeface="Arial" panose="020B0604020202020204" pitchFamily="34" charset="0"/>
                  <a:buChar char="•"/>
                  <a:defRPr sz="1200">
                    <a:solidFill>
                      <a:schemeClr val="tx1"/>
                    </a:solidFill>
                    <a:latin typeface="+mn-lt"/>
                  </a:defRPr>
                </a:lvl3pPr>
                <a:lvl4pPr marL="1511670" indent="-215954" algn="l" rtl="0" eaLnBrk="1" fontAlgn="base" hangingPunct="1">
                  <a:spcBef>
                    <a:spcPts val="0"/>
                  </a:spcBef>
                  <a:spcAft>
                    <a:spcPts val="600"/>
                  </a:spcAft>
                  <a:buFont typeface="Arial" panose="020B0604020202020204" pitchFamily="34" charset="0"/>
                  <a:buChar char="•"/>
                  <a:defRPr sz="1200">
                    <a:solidFill>
                      <a:schemeClr val="tx1"/>
                    </a:solidFill>
                    <a:latin typeface="+mn-lt"/>
                  </a:defRPr>
                </a:lvl4pPr>
                <a:lvl5pPr marL="1943573" indent="-215954" algn="l" rtl="0" eaLnBrk="1" fontAlgn="base" hangingPunct="1">
                  <a:spcBef>
                    <a:spcPts val="0"/>
                  </a:spcBef>
                  <a:spcAft>
                    <a:spcPts val="600"/>
                  </a:spcAft>
                  <a:buFont typeface="Arial" panose="020B0604020202020204" pitchFamily="34" charset="0"/>
                  <a:buChar char="•"/>
                  <a:defRPr sz="1200">
                    <a:solidFill>
                      <a:schemeClr val="tx1"/>
                    </a:solidFill>
                    <a:latin typeface="+mn-lt"/>
                  </a:defRPr>
                </a:lvl5pPr>
                <a:lvl6pPr marL="2375480" indent="-215954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Font typeface="Wingdings" pitchFamily="2" charset="2"/>
                  <a:buChar char="§"/>
                  <a:defRPr sz="1512">
                    <a:solidFill>
                      <a:schemeClr val="tx1"/>
                    </a:solidFill>
                    <a:latin typeface="+mn-lt"/>
                  </a:defRPr>
                </a:lvl6pPr>
                <a:lvl7pPr marL="2807386" indent="-215954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Font typeface="Wingdings" pitchFamily="2" charset="2"/>
                  <a:buChar char="§"/>
                  <a:defRPr sz="1512">
                    <a:solidFill>
                      <a:schemeClr val="tx1"/>
                    </a:solidFill>
                    <a:latin typeface="+mn-lt"/>
                  </a:defRPr>
                </a:lvl7pPr>
                <a:lvl8pPr marL="3239291" indent="-215954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Font typeface="Wingdings" pitchFamily="2" charset="2"/>
                  <a:buChar char="§"/>
                  <a:defRPr sz="1512">
                    <a:solidFill>
                      <a:schemeClr val="tx1"/>
                    </a:solidFill>
                    <a:latin typeface="+mn-lt"/>
                  </a:defRPr>
                </a:lvl8pPr>
                <a:lvl9pPr marL="3671195" indent="-215954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Font typeface="Wingdings" pitchFamily="2" charset="2"/>
                  <a:buChar char="§"/>
                  <a:defRPr sz="1512">
                    <a:solidFill>
                      <a:schemeClr val="tx1"/>
                    </a:solidFill>
                    <a:latin typeface="+mn-lt"/>
                  </a:defRPr>
                </a:lvl9pPr>
              </a:lstStyle>
              <a:p>
                <a:r>
                  <a:rPr lang="de-DE" kern="0" dirty="0">
                    <a:solidFill>
                      <a:srgbClr val="A64D79"/>
                    </a:solidFill>
                  </a:rPr>
                  <a:t>Jakob Ketterer</a:t>
                </a:r>
                <a:br>
                  <a:rPr lang="de-DE" kern="0" dirty="0"/>
                </a:br>
                <a:r>
                  <a:rPr lang="de-DE" kern="0" dirty="0"/>
                  <a:t>Karlsruhe Institute </a:t>
                </a:r>
                <a:r>
                  <a:rPr lang="de-DE" kern="0" dirty="0" err="1"/>
                  <a:t>of</a:t>
                </a:r>
                <a:br>
                  <a:rPr lang="de-DE" kern="0" dirty="0"/>
                </a:br>
                <a:r>
                  <a:rPr lang="de-DE" kern="0" dirty="0"/>
                  <a:t>Technology</a:t>
                </a:r>
              </a:p>
            </p:txBody>
          </p:sp>
          <p:sp>
            <p:nvSpPr>
              <p:cNvPr id="11" name="Textplatzhalter 31">
                <a:extLst>
                  <a:ext uri="{FF2B5EF4-FFF2-40B4-BE49-F238E27FC236}">
                    <a16:creationId xmlns:a16="http://schemas.microsoft.com/office/drawing/2014/main" id="{D4184137-6094-694E-9D2A-D816C20D3CD2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8527203" y="4159021"/>
                <a:ext cx="2478075" cy="673832"/>
              </a:xfrm>
              <a:prstGeom prst="rect">
                <a:avLst/>
              </a:prstGeom>
            </p:spPr>
            <p:txBody>
              <a:bodyPr anchor="t"/>
              <a:lstStyle>
                <a:lvl1pPr marL="0" indent="0" algn="l" rtl="0" eaLnBrk="1" fontAlgn="base" hangingPunct="1">
                  <a:spcBef>
                    <a:spcPts val="0"/>
                  </a:spcBef>
                  <a:spcAft>
                    <a:spcPts val="600"/>
                  </a:spcAft>
                  <a:buFont typeface="Arial" panose="020B0604020202020204" pitchFamily="34" charset="0"/>
                  <a:buNone/>
                  <a:defRPr sz="1400" b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701846" indent="-284400" algn="l" rtl="0" eaLnBrk="1" fontAlgn="base" hangingPunct="1">
                  <a:spcBef>
                    <a:spcPts val="0"/>
                  </a:spcBef>
                  <a:spcAft>
                    <a:spcPts val="600"/>
                  </a:spcAft>
                  <a:buFont typeface="Arial" panose="020B0604020202020204" pitchFamily="34" charset="0"/>
                  <a:buChar char="•"/>
                  <a:defRPr sz="1400">
                    <a:solidFill>
                      <a:schemeClr val="tx1"/>
                    </a:solidFill>
                    <a:latin typeface="+mn-lt"/>
                  </a:defRPr>
                </a:lvl2pPr>
                <a:lvl3pPr marL="1079763" indent="-215954" algn="l" rtl="0" eaLnBrk="1" fontAlgn="base" hangingPunct="1">
                  <a:spcBef>
                    <a:spcPts val="0"/>
                  </a:spcBef>
                  <a:spcAft>
                    <a:spcPts val="600"/>
                  </a:spcAft>
                  <a:buFont typeface="Arial" panose="020B0604020202020204" pitchFamily="34" charset="0"/>
                  <a:buChar char="•"/>
                  <a:defRPr sz="1200">
                    <a:solidFill>
                      <a:schemeClr val="tx1"/>
                    </a:solidFill>
                    <a:latin typeface="+mn-lt"/>
                  </a:defRPr>
                </a:lvl3pPr>
                <a:lvl4pPr marL="1511670" indent="-215954" algn="l" rtl="0" eaLnBrk="1" fontAlgn="base" hangingPunct="1">
                  <a:spcBef>
                    <a:spcPts val="0"/>
                  </a:spcBef>
                  <a:spcAft>
                    <a:spcPts val="600"/>
                  </a:spcAft>
                  <a:buFont typeface="Arial" panose="020B0604020202020204" pitchFamily="34" charset="0"/>
                  <a:buChar char="•"/>
                  <a:defRPr sz="1200">
                    <a:solidFill>
                      <a:schemeClr val="tx1"/>
                    </a:solidFill>
                    <a:latin typeface="+mn-lt"/>
                  </a:defRPr>
                </a:lvl4pPr>
                <a:lvl5pPr marL="1943573" indent="-215954" algn="l" rtl="0" eaLnBrk="1" fontAlgn="base" hangingPunct="1">
                  <a:spcBef>
                    <a:spcPts val="0"/>
                  </a:spcBef>
                  <a:spcAft>
                    <a:spcPts val="600"/>
                  </a:spcAft>
                  <a:buFont typeface="Arial" panose="020B0604020202020204" pitchFamily="34" charset="0"/>
                  <a:buChar char="•"/>
                  <a:defRPr sz="1200">
                    <a:solidFill>
                      <a:schemeClr val="tx1"/>
                    </a:solidFill>
                    <a:latin typeface="+mn-lt"/>
                  </a:defRPr>
                </a:lvl5pPr>
                <a:lvl6pPr marL="2375480" indent="-215954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Font typeface="Wingdings" pitchFamily="2" charset="2"/>
                  <a:buChar char="§"/>
                  <a:defRPr sz="1512">
                    <a:solidFill>
                      <a:schemeClr val="tx1"/>
                    </a:solidFill>
                    <a:latin typeface="+mn-lt"/>
                  </a:defRPr>
                </a:lvl6pPr>
                <a:lvl7pPr marL="2807386" indent="-215954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Font typeface="Wingdings" pitchFamily="2" charset="2"/>
                  <a:buChar char="§"/>
                  <a:defRPr sz="1512">
                    <a:solidFill>
                      <a:schemeClr val="tx1"/>
                    </a:solidFill>
                    <a:latin typeface="+mn-lt"/>
                  </a:defRPr>
                </a:lvl7pPr>
                <a:lvl8pPr marL="3239291" indent="-215954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Font typeface="Wingdings" pitchFamily="2" charset="2"/>
                  <a:buChar char="§"/>
                  <a:defRPr sz="1512">
                    <a:solidFill>
                      <a:schemeClr val="tx1"/>
                    </a:solidFill>
                    <a:latin typeface="+mn-lt"/>
                  </a:defRPr>
                </a:lvl8pPr>
                <a:lvl9pPr marL="3671195" indent="-215954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Font typeface="Wingdings" pitchFamily="2" charset="2"/>
                  <a:buChar char="§"/>
                  <a:defRPr sz="1512">
                    <a:solidFill>
                      <a:schemeClr val="tx1"/>
                    </a:solidFill>
                    <a:latin typeface="+mn-lt"/>
                  </a:defRPr>
                </a:lvl9pPr>
              </a:lstStyle>
              <a:p>
                <a:r>
                  <a:rPr lang="de-DE" kern="0" dirty="0">
                    <a:solidFill>
                      <a:srgbClr val="A64D79"/>
                    </a:solidFill>
                  </a:rPr>
                  <a:t>Gregor Lied</a:t>
                </a:r>
                <a:br>
                  <a:rPr lang="de-DE" kern="0" dirty="0"/>
                </a:br>
                <a:r>
                  <a:rPr lang="de-DE" kern="0" dirty="0"/>
                  <a:t>Karlsruhe Institute </a:t>
                </a:r>
                <a:r>
                  <a:rPr lang="de-DE" kern="0" dirty="0" err="1"/>
                  <a:t>of</a:t>
                </a:r>
                <a:br>
                  <a:rPr lang="de-DE" kern="0" dirty="0"/>
                </a:br>
                <a:r>
                  <a:rPr lang="de-DE" kern="0" dirty="0"/>
                  <a:t>Technology</a:t>
                </a:r>
              </a:p>
            </p:txBody>
          </p:sp>
          <p:sp>
            <p:nvSpPr>
              <p:cNvPr id="12" name="Textplatzhalter 31">
                <a:extLst>
                  <a:ext uri="{FF2B5EF4-FFF2-40B4-BE49-F238E27FC236}">
                    <a16:creationId xmlns:a16="http://schemas.microsoft.com/office/drawing/2014/main" id="{13569788-A73C-7042-B0EA-D565D82EF618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8527203" y="3274372"/>
                <a:ext cx="2478075" cy="673832"/>
              </a:xfrm>
              <a:prstGeom prst="rect">
                <a:avLst/>
              </a:prstGeom>
            </p:spPr>
            <p:txBody>
              <a:bodyPr anchor="t"/>
              <a:lstStyle>
                <a:lvl1pPr marL="0" indent="0" algn="l" rtl="0" eaLnBrk="1" fontAlgn="base" hangingPunct="1">
                  <a:spcBef>
                    <a:spcPts val="0"/>
                  </a:spcBef>
                  <a:spcAft>
                    <a:spcPts val="600"/>
                  </a:spcAft>
                  <a:buFont typeface="Arial" panose="020B0604020202020204" pitchFamily="34" charset="0"/>
                  <a:buNone/>
                  <a:defRPr sz="1400" b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701846" indent="-284400" algn="l" rtl="0" eaLnBrk="1" fontAlgn="base" hangingPunct="1">
                  <a:spcBef>
                    <a:spcPts val="0"/>
                  </a:spcBef>
                  <a:spcAft>
                    <a:spcPts val="600"/>
                  </a:spcAft>
                  <a:buFont typeface="Arial" panose="020B0604020202020204" pitchFamily="34" charset="0"/>
                  <a:buChar char="•"/>
                  <a:defRPr sz="1400">
                    <a:solidFill>
                      <a:schemeClr val="tx1"/>
                    </a:solidFill>
                    <a:latin typeface="+mn-lt"/>
                  </a:defRPr>
                </a:lvl2pPr>
                <a:lvl3pPr marL="1079763" indent="-215954" algn="l" rtl="0" eaLnBrk="1" fontAlgn="base" hangingPunct="1">
                  <a:spcBef>
                    <a:spcPts val="0"/>
                  </a:spcBef>
                  <a:spcAft>
                    <a:spcPts val="600"/>
                  </a:spcAft>
                  <a:buFont typeface="Arial" panose="020B0604020202020204" pitchFamily="34" charset="0"/>
                  <a:buChar char="•"/>
                  <a:defRPr sz="1200">
                    <a:solidFill>
                      <a:schemeClr val="tx1"/>
                    </a:solidFill>
                    <a:latin typeface="+mn-lt"/>
                  </a:defRPr>
                </a:lvl3pPr>
                <a:lvl4pPr marL="1511670" indent="-215954" algn="l" rtl="0" eaLnBrk="1" fontAlgn="base" hangingPunct="1">
                  <a:spcBef>
                    <a:spcPts val="0"/>
                  </a:spcBef>
                  <a:spcAft>
                    <a:spcPts val="600"/>
                  </a:spcAft>
                  <a:buFont typeface="Arial" panose="020B0604020202020204" pitchFamily="34" charset="0"/>
                  <a:buChar char="•"/>
                  <a:defRPr sz="1200">
                    <a:solidFill>
                      <a:schemeClr val="tx1"/>
                    </a:solidFill>
                    <a:latin typeface="+mn-lt"/>
                  </a:defRPr>
                </a:lvl4pPr>
                <a:lvl5pPr marL="1943573" indent="-215954" algn="l" rtl="0" eaLnBrk="1" fontAlgn="base" hangingPunct="1">
                  <a:spcBef>
                    <a:spcPts val="0"/>
                  </a:spcBef>
                  <a:spcAft>
                    <a:spcPts val="600"/>
                  </a:spcAft>
                  <a:buFont typeface="Arial" panose="020B0604020202020204" pitchFamily="34" charset="0"/>
                  <a:buChar char="•"/>
                  <a:defRPr sz="1200">
                    <a:solidFill>
                      <a:schemeClr val="tx1"/>
                    </a:solidFill>
                    <a:latin typeface="+mn-lt"/>
                  </a:defRPr>
                </a:lvl5pPr>
                <a:lvl6pPr marL="2375480" indent="-215954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Font typeface="Wingdings" pitchFamily="2" charset="2"/>
                  <a:buChar char="§"/>
                  <a:defRPr sz="1512">
                    <a:solidFill>
                      <a:schemeClr val="tx1"/>
                    </a:solidFill>
                    <a:latin typeface="+mn-lt"/>
                  </a:defRPr>
                </a:lvl6pPr>
                <a:lvl7pPr marL="2807386" indent="-215954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Font typeface="Wingdings" pitchFamily="2" charset="2"/>
                  <a:buChar char="§"/>
                  <a:defRPr sz="1512">
                    <a:solidFill>
                      <a:schemeClr val="tx1"/>
                    </a:solidFill>
                    <a:latin typeface="+mn-lt"/>
                  </a:defRPr>
                </a:lvl7pPr>
                <a:lvl8pPr marL="3239291" indent="-215954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Font typeface="Wingdings" pitchFamily="2" charset="2"/>
                  <a:buChar char="§"/>
                  <a:defRPr sz="1512">
                    <a:solidFill>
                      <a:schemeClr val="tx1"/>
                    </a:solidFill>
                    <a:latin typeface="+mn-lt"/>
                  </a:defRPr>
                </a:lvl8pPr>
                <a:lvl9pPr marL="3671195" indent="-215954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Font typeface="Wingdings" pitchFamily="2" charset="2"/>
                  <a:buChar char="§"/>
                  <a:defRPr sz="1512">
                    <a:solidFill>
                      <a:schemeClr val="tx1"/>
                    </a:solidFill>
                    <a:latin typeface="+mn-lt"/>
                  </a:defRPr>
                </a:lvl9pPr>
              </a:lstStyle>
              <a:p>
                <a:r>
                  <a:rPr lang="de-DE" kern="0" dirty="0">
                    <a:solidFill>
                      <a:srgbClr val="A64D79"/>
                    </a:solidFill>
                  </a:rPr>
                  <a:t>Iris </a:t>
                </a:r>
                <a:r>
                  <a:rPr lang="de-DE" kern="0" dirty="0" err="1">
                    <a:solidFill>
                      <a:srgbClr val="A64D79"/>
                    </a:solidFill>
                  </a:rPr>
                  <a:t>Andrussow</a:t>
                </a:r>
                <a:br>
                  <a:rPr lang="de-DE" kern="0" dirty="0"/>
                </a:br>
                <a:r>
                  <a:rPr lang="de-DE" kern="0" dirty="0"/>
                  <a:t>Karlsruhe Institute </a:t>
                </a:r>
                <a:r>
                  <a:rPr lang="de-DE" kern="0" dirty="0" err="1"/>
                  <a:t>of</a:t>
                </a:r>
                <a:br>
                  <a:rPr lang="de-DE" kern="0" dirty="0"/>
                </a:br>
                <a:r>
                  <a:rPr lang="de-DE" kern="0" dirty="0"/>
                  <a:t>Technology</a:t>
                </a:r>
              </a:p>
              <a:p>
                <a:endParaRPr lang="de-DE" kern="0" dirty="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31896885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7" name="Google Shape;127;p2"/>
          <p:cNvSpPr txBox="1">
            <a:spLocks noGrp="1"/>
          </p:cNvSpPr>
          <p:nvPr>
            <p:ph type="ctrTitle"/>
          </p:nvPr>
        </p:nvSpPr>
        <p:spPr>
          <a:xfrm>
            <a:off x="4611758" y="2690531"/>
            <a:ext cx="6548367" cy="6480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de-DE" sz="4400">
                <a:solidFill>
                  <a:srgbClr val="A64D79"/>
                </a:solidFill>
              </a:rPr>
              <a:t>Group 15 – RoboPong</a:t>
            </a:r>
            <a:endParaRPr>
              <a:solidFill>
                <a:srgbClr val="A64D79"/>
              </a:solidFill>
            </a:endParaRPr>
          </a:p>
        </p:txBody>
      </p:sp>
      <p:sp>
        <p:nvSpPr>
          <p:cNvPr id="128" name="Google Shape;128;p2"/>
          <p:cNvSpPr txBox="1">
            <a:spLocks noGrp="1"/>
          </p:cNvSpPr>
          <p:nvPr>
            <p:ph type="subTitle" idx="1"/>
          </p:nvPr>
        </p:nvSpPr>
        <p:spPr>
          <a:xfrm>
            <a:off x="4611758" y="3492501"/>
            <a:ext cx="6548369" cy="692497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rgbClr val="A64D79"/>
              </a:buClr>
              <a:buSzPts val="2000"/>
              <a:buFont typeface="Noto Sans Symbols"/>
              <a:buNone/>
            </a:pPr>
            <a:r>
              <a:rPr lang="de-DE" dirty="0">
                <a:solidFill>
                  <a:srgbClr val="A64D79"/>
                </a:solidFill>
              </a:rPr>
              <a:t>Final Project | Final </a:t>
            </a:r>
            <a:r>
              <a:rPr lang="de-DE" dirty="0" err="1">
                <a:solidFill>
                  <a:srgbClr val="A64D79"/>
                </a:solidFill>
              </a:rPr>
              <a:t>Presentation</a:t>
            </a:r>
            <a:r>
              <a:rPr lang="de-DE" dirty="0">
                <a:solidFill>
                  <a:srgbClr val="A64D79"/>
                </a:solidFill>
              </a:rPr>
              <a:t> | 2019/12/30 </a:t>
            </a:r>
            <a:endParaRPr dirty="0"/>
          </a:p>
          <a:p>
            <a:pPr marL="0" lvl="0" indent="0" algn="l" rtl="0">
              <a:spcBef>
                <a:spcPts val="600"/>
              </a:spcBef>
              <a:spcAft>
                <a:spcPts val="0"/>
              </a:spcAft>
              <a:buClr>
                <a:srgbClr val="A64D79"/>
              </a:buClr>
              <a:buSzPts val="2000"/>
              <a:buFont typeface="Noto Sans Symbols"/>
              <a:buNone/>
            </a:pPr>
            <a:r>
              <a:rPr lang="de-DE" dirty="0">
                <a:solidFill>
                  <a:srgbClr val="A64D79"/>
                </a:solidFill>
              </a:rPr>
              <a:t>National Taiwan University | CSIE5047 – </a:t>
            </a:r>
            <a:r>
              <a:rPr lang="de-DE" dirty="0" err="1">
                <a:solidFill>
                  <a:srgbClr val="A64D79"/>
                </a:solidFill>
              </a:rPr>
              <a:t>Robotics</a:t>
            </a:r>
            <a:r>
              <a:rPr lang="de-DE" dirty="0">
                <a:solidFill>
                  <a:srgbClr val="A64D79"/>
                </a:solidFill>
              </a:rPr>
              <a:t> </a:t>
            </a:r>
            <a:endParaRPr dirty="0"/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2BCB6F4D-3FCD-7743-BE3C-DE3E5D594EA1}"/>
              </a:ext>
            </a:extLst>
          </p:cNvPr>
          <p:cNvGrpSpPr/>
          <p:nvPr/>
        </p:nvGrpSpPr>
        <p:grpSpPr>
          <a:xfrm>
            <a:off x="3176280" y="3560090"/>
            <a:ext cx="7983845" cy="2107056"/>
            <a:chOff x="730799" y="3545425"/>
            <a:chExt cx="7983845" cy="2107056"/>
          </a:xfrm>
        </p:grpSpPr>
        <p:pic>
          <p:nvPicPr>
            <p:cNvPr id="22" name="Google Shape;186;p6">
              <a:extLst>
                <a:ext uri="{FF2B5EF4-FFF2-40B4-BE49-F238E27FC236}">
                  <a16:creationId xmlns:a16="http://schemas.microsoft.com/office/drawing/2014/main" id="{69A4BF3F-3275-CB47-BAB8-D8C4D3E42718}"/>
                </a:ext>
              </a:extLst>
            </p:cNvPr>
            <p:cNvPicPr preferRelativeResize="0"/>
            <p:nvPr/>
          </p:nvPicPr>
          <p:blipFill>
            <a:blip r:embed="rId3" cstate="screen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545799" y="4598953"/>
              <a:ext cx="168845" cy="23400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17" name="Google Shape;176;p6">
              <a:extLst>
                <a:ext uri="{FF2B5EF4-FFF2-40B4-BE49-F238E27FC236}">
                  <a16:creationId xmlns:a16="http://schemas.microsoft.com/office/drawing/2014/main" id="{95DAD616-9622-174D-898B-073EB24E671F}"/>
                </a:ext>
              </a:extLst>
            </p:cNvPr>
            <p:cNvSpPr txBox="1"/>
            <p:nvPr/>
          </p:nvSpPr>
          <p:spPr>
            <a:xfrm>
              <a:off x="730799" y="3545425"/>
              <a:ext cx="7983845" cy="2107056"/>
            </a:xfrm>
            <a:prstGeom prst="rect">
              <a:avLst/>
            </a:prstGeom>
            <a:noFill/>
            <a:ln w="19050" cap="flat" cmpd="sng">
              <a:solidFill>
                <a:srgbClr val="A64D79"/>
              </a:solidFill>
              <a:prstDash val="dash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2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A64D79"/>
                </a:buClr>
                <a:buSzPts val="1600"/>
                <a:buFont typeface="Arial"/>
                <a:buNone/>
              </a:pPr>
              <a:r>
                <a:rPr lang="de-DE" sz="1800" b="0" i="0" u="none" strike="noStrike" cap="none" dirty="0">
                  <a:solidFill>
                    <a:srgbClr val="A64D79"/>
                  </a:solidFill>
                  <a:latin typeface="Arial"/>
                  <a:ea typeface="Arial"/>
                  <a:cs typeface="Arial"/>
                  <a:sym typeface="Arial"/>
                </a:rPr>
                <a:t>Software Problems</a:t>
              </a:r>
              <a:endParaRPr sz="18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717550" marR="0" lvl="0" indent="-285750" algn="l" rtl="0">
                <a:lnSpc>
                  <a:spcPct val="102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Char char="•"/>
              </a:pPr>
              <a:r>
                <a:rPr lang="de-DE" sz="1600" b="0" i="0" u="none" strike="noStrike" cap="none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Robot-</a:t>
              </a:r>
              <a:r>
                <a:rPr lang="de-DE" sz="1600" b="0" i="0" u="none" strike="noStrike" cap="none" dirty="0" err="1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Camera</a:t>
              </a:r>
              <a:r>
                <a:rPr lang="de-DE" sz="1600" b="0" i="0" u="none" strike="noStrike" cap="none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 </a:t>
              </a:r>
              <a:r>
                <a:rPr lang="de-DE" sz="1600" b="0" i="0" u="none" strike="noStrike" cap="none" dirty="0" err="1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calibration</a:t>
              </a:r>
              <a:endParaRPr sz="16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717550" marR="0" lvl="0" indent="-285750" algn="l" rtl="0">
                <a:lnSpc>
                  <a:spcPct val="102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Char char="•"/>
              </a:pPr>
              <a:r>
                <a:rPr lang="de-DE" sz="1600" b="0" i="0" u="none" strike="noStrike" cap="none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Recognition </a:t>
              </a:r>
              <a:r>
                <a:rPr lang="de-DE" sz="1600" b="0" i="0" u="none" strike="noStrike" cap="none" dirty="0" err="1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of</a:t>
              </a:r>
              <a:r>
                <a:rPr lang="de-DE" sz="1600" b="0" i="0" u="none" strike="noStrike" cap="none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 </a:t>
              </a:r>
              <a:r>
                <a:rPr lang="de-DE" sz="1600" b="0" i="0" u="none" strike="noStrike" cap="none" dirty="0" err="1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the</a:t>
              </a:r>
              <a:r>
                <a:rPr lang="de-DE" sz="1600" b="0" i="0" u="none" strike="noStrike" cap="none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 ball </a:t>
              </a:r>
              <a:r>
                <a:rPr lang="de-DE" sz="1600" b="0" i="0" u="none" strike="noStrike" cap="none" dirty="0" err="1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and</a:t>
              </a:r>
              <a:r>
                <a:rPr lang="de-DE" sz="1600" b="0" i="0" u="none" strike="noStrike" cap="none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 </a:t>
              </a:r>
              <a:r>
                <a:rPr lang="de-DE" sz="1600" b="0" i="0" u="none" strike="noStrike" cap="none" dirty="0" err="1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calculation</a:t>
              </a:r>
              <a:r>
                <a:rPr lang="de-DE" sz="1600" b="0" i="0" u="none" strike="noStrike" cap="none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 </a:t>
              </a:r>
              <a:r>
                <a:rPr lang="de-DE" sz="1600" b="0" i="0" u="none" strike="noStrike" cap="none" dirty="0" err="1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of</a:t>
              </a:r>
              <a:r>
                <a:rPr lang="de-DE" sz="1600" b="0" i="0" u="none" strike="noStrike" cap="none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 </a:t>
              </a:r>
              <a:r>
                <a:rPr lang="de-DE" sz="1600" b="0" i="0" u="none" strike="noStrike" cap="none" dirty="0" err="1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the</a:t>
              </a:r>
              <a:r>
                <a:rPr lang="de-DE" sz="1600" b="0" i="0" u="none" strike="noStrike" cap="none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 ball </a:t>
              </a:r>
              <a:r>
                <a:rPr lang="de-DE" sz="1600" b="0" i="0" u="none" strike="noStrike" cap="none" dirty="0" err="1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trajectory</a:t>
              </a:r>
              <a:endParaRPr sz="1600" b="0" i="0" u="none" strike="noStrike" cap="none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717550" marR="0" lvl="0" indent="-285750" algn="l" rtl="0">
                <a:lnSpc>
                  <a:spcPct val="102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Char char="•"/>
              </a:pPr>
              <a:r>
                <a:rPr lang="de-DE" sz="1600" dirty="0" err="1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Connecting</a:t>
              </a:r>
              <a:r>
                <a:rPr lang="de-DE" sz="1600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 </a:t>
              </a:r>
              <a:r>
                <a:rPr lang="de-DE" sz="1600" dirty="0" err="1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camera</a:t>
              </a:r>
              <a:r>
                <a:rPr lang="de-DE" sz="1600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 </a:t>
              </a:r>
              <a:r>
                <a:rPr lang="de-DE" sz="1600" dirty="0" err="1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computer</a:t>
              </a:r>
              <a:r>
                <a:rPr lang="de-DE" sz="1600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 </a:t>
              </a:r>
              <a:r>
                <a:rPr lang="de-DE" sz="1600" dirty="0" err="1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to</a:t>
              </a:r>
              <a:r>
                <a:rPr lang="de-DE" sz="1600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 </a:t>
              </a:r>
              <a:r>
                <a:rPr lang="de-DE" sz="1600" dirty="0" err="1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robot</a:t>
              </a:r>
              <a:r>
                <a:rPr lang="de-DE" sz="1600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 </a:t>
              </a:r>
              <a:r>
                <a:rPr lang="de-DE" sz="1600" dirty="0" err="1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computer</a:t>
              </a:r>
              <a:r>
                <a:rPr lang="de-DE" sz="1600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 via TCP</a:t>
              </a:r>
              <a:endParaRPr sz="16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717550" marR="0" lvl="0" indent="-285750" algn="l" rtl="0">
                <a:lnSpc>
                  <a:spcPct val="102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Char char="•"/>
              </a:pPr>
              <a:r>
                <a:rPr lang="de-DE" sz="1600" b="0" i="0" u="none" strike="noStrike" cap="none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Inverse </a:t>
              </a:r>
              <a:r>
                <a:rPr lang="de-DE" sz="1600" b="0" i="0" u="none" strike="noStrike" cap="none" dirty="0" err="1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Kinematics</a:t>
              </a:r>
              <a:r>
                <a:rPr lang="de-DE" sz="1600" b="0" i="0" u="none" strike="noStrike" cap="none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 </a:t>
              </a:r>
              <a:r>
                <a:rPr lang="de-DE" sz="1600" b="0" i="0" u="none" strike="noStrike" cap="none" dirty="0" err="1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for</a:t>
              </a:r>
              <a:r>
                <a:rPr lang="de-DE" sz="1600" b="0" i="0" u="none" strike="noStrike" cap="none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 </a:t>
              </a:r>
              <a:r>
                <a:rPr lang="de-DE" sz="1600" b="0" i="0" u="none" strike="noStrike" cap="none" dirty="0" err="1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movement</a:t>
              </a:r>
              <a:r>
                <a:rPr lang="de-DE" sz="1600" b="0" i="0" u="none" strike="noStrike" cap="none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 </a:t>
              </a:r>
              <a:r>
                <a:rPr lang="de-DE" sz="1600" b="0" i="0" u="none" strike="noStrike" cap="none" dirty="0" err="1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of</a:t>
              </a:r>
              <a:r>
                <a:rPr lang="de-DE" sz="1600" b="0" i="0" u="none" strike="noStrike" cap="none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 </a:t>
              </a:r>
              <a:r>
                <a:rPr lang="de-DE" sz="1600" b="0" i="0" u="none" strike="noStrike" cap="none" dirty="0" err="1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robot</a:t>
              </a:r>
              <a:r>
                <a:rPr lang="de-DE" sz="1600" b="0" i="0" u="none" strike="noStrike" cap="none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 </a:t>
              </a:r>
              <a:r>
                <a:rPr lang="de-DE" sz="1600" b="0" i="0" u="none" strike="noStrike" cap="none" dirty="0" err="1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to</a:t>
              </a:r>
              <a:r>
                <a:rPr lang="de-DE" sz="1600" b="0" i="0" u="none" strike="noStrike" cap="none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 </a:t>
              </a:r>
              <a:r>
                <a:rPr lang="de-DE" sz="1600" b="0" i="0" u="none" strike="noStrike" cap="none" dirty="0" err="1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the</a:t>
              </a:r>
              <a:r>
                <a:rPr lang="de-DE" sz="1600" b="0" i="0" u="none" strike="noStrike" cap="none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 </a:t>
              </a:r>
              <a:r>
                <a:rPr lang="de-DE" sz="1600" b="0" i="0" u="none" strike="noStrike" cap="none" dirty="0" err="1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calculated</a:t>
              </a:r>
              <a:r>
                <a:rPr lang="de-DE" sz="1600" b="0" i="0" u="none" strike="noStrike" cap="none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 ball </a:t>
              </a:r>
              <a:r>
                <a:rPr lang="de-DE" sz="1600" b="0" i="0" u="none" strike="noStrike" cap="none" dirty="0" err="1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catching</a:t>
              </a:r>
              <a:r>
                <a:rPr lang="de-DE" sz="1600" b="0" i="0" u="none" strike="noStrike" cap="none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 </a:t>
              </a:r>
              <a:r>
                <a:rPr lang="de-DE" sz="1600" b="0" i="0" u="none" strike="noStrike" cap="none" dirty="0" err="1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point</a:t>
              </a:r>
              <a:endParaRPr sz="16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9" name="Google Shape;183;p6">
              <a:extLst>
                <a:ext uri="{FF2B5EF4-FFF2-40B4-BE49-F238E27FC236}">
                  <a16:creationId xmlns:a16="http://schemas.microsoft.com/office/drawing/2014/main" id="{A8043987-495D-9C46-B620-CAAC453BCBAF}"/>
                </a:ext>
              </a:extLst>
            </p:cNvPr>
            <p:cNvPicPr preferRelativeResize="0"/>
            <p:nvPr/>
          </p:nvPicPr>
          <p:blipFill>
            <a:blip r:embed="rId3" cstate="screen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863971" y="3847494"/>
              <a:ext cx="168845" cy="234000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20" name="Google Shape;184;p6">
              <a:extLst>
                <a:ext uri="{FF2B5EF4-FFF2-40B4-BE49-F238E27FC236}">
                  <a16:creationId xmlns:a16="http://schemas.microsoft.com/office/drawing/2014/main" id="{1EBA3A66-B749-AE4B-95E0-60D438546037}"/>
                </a:ext>
              </a:extLst>
            </p:cNvPr>
            <p:cNvPicPr preferRelativeResize="0"/>
            <p:nvPr/>
          </p:nvPicPr>
          <p:blipFill>
            <a:blip r:embed="rId3" cstate="screen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802147" y="4119074"/>
              <a:ext cx="168845" cy="234000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21" name="Google Shape;185;p6">
              <a:extLst>
                <a:ext uri="{FF2B5EF4-FFF2-40B4-BE49-F238E27FC236}">
                  <a16:creationId xmlns:a16="http://schemas.microsoft.com/office/drawing/2014/main" id="{1B041D08-C184-C34C-9AA7-8BC6E6ECB863}"/>
                </a:ext>
              </a:extLst>
            </p:cNvPr>
            <p:cNvPicPr preferRelativeResize="0"/>
            <p:nvPr/>
          </p:nvPicPr>
          <p:blipFill>
            <a:blip r:embed="rId3" cstate="screen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640282" y="4366807"/>
              <a:ext cx="168845" cy="234000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23" name="Google Shape;187;p6">
              <a:extLst>
                <a:ext uri="{FF2B5EF4-FFF2-40B4-BE49-F238E27FC236}">
                  <a16:creationId xmlns:a16="http://schemas.microsoft.com/office/drawing/2014/main" id="{0B0E308B-55EA-2146-AE7F-9991B4CC33CB}"/>
                </a:ext>
              </a:extLst>
            </p:cNvPr>
            <p:cNvPicPr preferRelativeResize="0"/>
            <p:nvPr/>
          </p:nvPicPr>
          <p:blipFill rotWithShape="1">
            <a:blip r:embed="rId4" cstate="screen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6404857" y="5289863"/>
              <a:ext cx="210406" cy="23400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18" name="Google Shape;177;p6">
              <a:extLst>
                <a:ext uri="{FF2B5EF4-FFF2-40B4-BE49-F238E27FC236}">
                  <a16:creationId xmlns:a16="http://schemas.microsoft.com/office/drawing/2014/main" id="{401D8F7B-FB4B-9640-9F2F-DA5F0834DAB4}"/>
                </a:ext>
              </a:extLst>
            </p:cNvPr>
            <p:cNvSpPr txBox="1"/>
            <p:nvPr/>
          </p:nvSpPr>
          <p:spPr>
            <a:xfrm>
              <a:off x="730801" y="4978198"/>
              <a:ext cx="7472728" cy="483003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2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A64D79"/>
                </a:buClr>
                <a:buSzPts val="1600"/>
                <a:buFont typeface="Arial"/>
                <a:buNone/>
              </a:pPr>
              <a:r>
                <a:rPr lang="de-DE" sz="1800" b="1" i="0" u="none" strike="noStrike" cap="none" dirty="0">
                  <a:solidFill>
                    <a:srgbClr val="A64D79"/>
                  </a:solidFill>
                </a:rPr>
                <a:t>Hardware Problems</a:t>
              </a:r>
              <a:endParaRPr sz="1800" b="1" i="0" u="none" strike="noStrike" cap="none" dirty="0">
                <a:solidFill>
                  <a:schemeClr val="dk1"/>
                </a:solidFill>
              </a:endParaRPr>
            </a:p>
            <a:p>
              <a:pPr marL="717550" marR="0" lvl="0" indent="-285750" algn="l" rtl="0">
                <a:lnSpc>
                  <a:spcPct val="102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Char char="•"/>
              </a:pPr>
              <a:r>
                <a:rPr lang="de-DE" sz="1600" b="1" i="0" u="none" strike="noStrike" cap="none" dirty="0">
                  <a:solidFill>
                    <a:srgbClr val="000000"/>
                  </a:solidFill>
                </a:rPr>
                <a:t>Maximum </a:t>
              </a:r>
              <a:r>
                <a:rPr lang="de-DE" sz="1600" b="1" i="0" u="none" strike="noStrike" cap="none" dirty="0" err="1">
                  <a:solidFill>
                    <a:srgbClr val="000000"/>
                  </a:solidFill>
                </a:rPr>
                <a:t>robot</a:t>
              </a:r>
              <a:r>
                <a:rPr lang="de-DE" sz="1600" b="1" i="0" u="none" strike="noStrike" cap="none" dirty="0">
                  <a:solidFill>
                    <a:srgbClr val="000000"/>
                  </a:solidFill>
                </a:rPr>
                <a:t> </a:t>
              </a:r>
              <a:r>
                <a:rPr lang="de-DE" sz="1600" b="1" i="0" u="none" strike="noStrike" cap="none" dirty="0" err="1">
                  <a:solidFill>
                    <a:srgbClr val="000000"/>
                  </a:solidFill>
                </a:rPr>
                <a:t>speed</a:t>
              </a:r>
              <a:r>
                <a:rPr lang="de-DE" sz="1600" b="1" i="0" u="none" strike="noStrike" cap="none" dirty="0">
                  <a:solidFill>
                    <a:srgbClr val="000000"/>
                  </a:solidFill>
                </a:rPr>
                <a:t> </a:t>
              </a:r>
              <a:r>
                <a:rPr lang="de-DE" sz="1600" b="1" i="0" u="none" strike="noStrike" cap="none" dirty="0" err="1">
                  <a:solidFill>
                    <a:srgbClr val="000000"/>
                  </a:solidFill>
                </a:rPr>
                <a:t>could</a:t>
              </a:r>
              <a:r>
                <a:rPr lang="de-DE" sz="1600" b="1" i="0" u="none" strike="noStrike" cap="none" dirty="0">
                  <a:solidFill>
                    <a:srgbClr val="000000"/>
                  </a:solidFill>
                </a:rPr>
                <a:t> </a:t>
              </a:r>
              <a:r>
                <a:rPr lang="de-DE" sz="1600" b="1" i="0" u="none" strike="noStrike" cap="none" dirty="0" err="1">
                  <a:solidFill>
                    <a:srgbClr val="000000"/>
                  </a:solidFill>
                </a:rPr>
                <a:t>limit</a:t>
              </a:r>
              <a:r>
                <a:rPr lang="de-DE" sz="1600" b="1" i="0" u="none" strike="noStrike" cap="none" dirty="0">
                  <a:solidFill>
                    <a:srgbClr val="000000"/>
                  </a:solidFill>
                </a:rPr>
                <a:t> </a:t>
              </a:r>
              <a:r>
                <a:rPr lang="de-DE" sz="1600" b="1" i="0" u="none" strike="noStrike" cap="none" dirty="0" err="1">
                  <a:solidFill>
                    <a:srgbClr val="000000"/>
                  </a:solidFill>
                </a:rPr>
                <a:t>catching</a:t>
              </a:r>
              <a:r>
                <a:rPr lang="de-DE" sz="1600" b="1" i="0" u="none" strike="noStrike" cap="none" dirty="0">
                  <a:solidFill>
                    <a:srgbClr val="000000"/>
                  </a:solidFill>
                </a:rPr>
                <a:t> </a:t>
              </a:r>
              <a:r>
                <a:rPr lang="de-DE" sz="1600" b="1" i="0" u="none" strike="noStrike" cap="none" dirty="0" err="1">
                  <a:solidFill>
                    <a:srgbClr val="000000"/>
                  </a:solidFill>
                </a:rPr>
                <a:t>abilities</a:t>
              </a:r>
              <a:endParaRPr sz="1600" b="1" i="0" u="none" strike="noStrike" cap="none" dirty="0">
                <a:solidFill>
                  <a:schemeClr val="dk1"/>
                </a:solidFill>
              </a:endParaRPr>
            </a:p>
          </p:txBody>
        </p:sp>
      </p:grpSp>
      <p:sp>
        <p:nvSpPr>
          <p:cNvPr id="156" name="Google Shape;156;p5"/>
          <p:cNvSpPr txBox="1">
            <a:spLocks noGrp="1"/>
          </p:cNvSpPr>
          <p:nvPr>
            <p:ph type="body" idx="6"/>
          </p:nvPr>
        </p:nvSpPr>
        <p:spPr>
          <a:xfrm>
            <a:off x="719999" y="5761038"/>
            <a:ext cx="10440126" cy="1793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284400" lvl="0" indent="-28440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</a:pPr>
            <a:endParaRPr/>
          </a:p>
        </p:txBody>
      </p:sp>
      <p:sp>
        <p:nvSpPr>
          <p:cNvPr id="157" name="Google Shape;157;p5"/>
          <p:cNvSpPr txBox="1">
            <a:spLocks noGrp="1"/>
          </p:cNvSpPr>
          <p:nvPr>
            <p:ph type="sldNum" idx="12"/>
          </p:nvPr>
        </p:nvSpPr>
        <p:spPr>
          <a:xfrm>
            <a:off x="180000" y="6178310"/>
            <a:ext cx="360000" cy="12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de-DE"/>
              <a:t>3</a:t>
            </a:fld>
            <a:endParaRPr/>
          </a:p>
        </p:txBody>
      </p:sp>
      <p:sp>
        <p:nvSpPr>
          <p:cNvPr id="158" name="Google Shape;158;p5"/>
          <p:cNvSpPr txBox="1"/>
          <p:nvPr/>
        </p:nvSpPr>
        <p:spPr>
          <a:xfrm>
            <a:off x="1087246" y="256426"/>
            <a:ext cx="10225090" cy="5847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de-DE" sz="3200" b="0" i="0" u="none" strike="noStrike" cap="none" dirty="0">
                <a:solidFill>
                  <a:srgbClr val="A64D79"/>
                </a:solidFill>
                <a:latin typeface="Arial"/>
                <a:ea typeface="Arial"/>
                <a:cs typeface="Arial"/>
                <a:sym typeface="Arial"/>
              </a:rPr>
              <a:t>Project </a:t>
            </a:r>
            <a:r>
              <a:rPr lang="de-DE" sz="3200" b="0" i="0" u="none" strike="noStrike" cap="none" dirty="0" err="1">
                <a:solidFill>
                  <a:srgbClr val="A64D79"/>
                </a:solidFill>
                <a:latin typeface="Arial"/>
                <a:ea typeface="Arial"/>
                <a:cs typeface="Arial"/>
                <a:sym typeface="Arial"/>
              </a:rPr>
              <a:t>Overview</a:t>
            </a:r>
            <a:r>
              <a:rPr lang="de-DE" sz="3200" b="0" i="0" u="none" strike="noStrike" cap="none" dirty="0">
                <a:solidFill>
                  <a:srgbClr val="A64D79"/>
                </a:solidFill>
                <a:latin typeface="Arial"/>
                <a:ea typeface="Arial"/>
                <a:cs typeface="Arial"/>
                <a:sym typeface="Arial"/>
              </a:rPr>
              <a:t> – </a:t>
            </a:r>
            <a:r>
              <a:rPr lang="de-DE" sz="3200" b="0" i="0" u="none" strike="noStrike" cap="none" dirty="0" err="1">
                <a:solidFill>
                  <a:srgbClr val="A64D79"/>
                </a:solidFill>
                <a:latin typeface="Arial"/>
                <a:ea typeface="Arial"/>
                <a:cs typeface="Arial"/>
                <a:sym typeface="Arial"/>
              </a:rPr>
              <a:t>Catching</a:t>
            </a:r>
            <a:r>
              <a:rPr lang="de-DE" sz="3200" b="0" i="0" u="none" strike="noStrike" cap="none" dirty="0">
                <a:solidFill>
                  <a:srgbClr val="A64D79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de-DE" sz="3200" b="0" i="0" u="none" strike="noStrike" cap="none" dirty="0" err="1">
                <a:solidFill>
                  <a:srgbClr val="A64D79"/>
                </a:solidFill>
                <a:latin typeface="Arial"/>
                <a:ea typeface="Arial"/>
                <a:cs typeface="Arial"/>
                <a:sym typeface="Arial"/>
              </a:rPr>
              <a:t>Pong</a:t>
            </a:r>
            <a:r>
              <a:rPr lang="de-DE" sz="3200" b="0" i="0" u="none" strike="noStrike" cap="none" dirty="0">
                <a:solidFill>
                  <a:srgbClr val="A64D79"/>
                </a:solidFill>
                <a:latin typeface="Arial"/>
                <a:ea typeface="Arial"/>
                <a:cs typeface="Arial"/>
                <a:sym typeface="Arial"/>
              </a:rPr>
              <a:t> Balls </a:t>
            </a:r>
            <a:r>
              <a:rPr lang="de-DE" sz="3200" b="0" i="0" u="none" strike="noStrike" cap="none" dirty="0" err="1">
                <a:solidFill>
                  <a:srgbClr val="A64D79"/>
                </a:solidFill>
                <a:latin typeface="Arial"/>
                <a:ea typeface="Arial"/>
                <a:cs typeface="Arial"/>
                <a:sym typeface="Arial"/>
              </a:rPr>
              <a:t>with</a:t>
            </a:r>
            <a:r>
              <a:rPr lang="de-DE" sz="3200" b="0" i="0" u="none" strike="noStrike" cap="none" dirty="0">
                <a:solidFill>
                  <a:srgbClr val="A64D79"/>
                </a:solidFill>
                <a:latin typeface="Arial"/>
                <a:ea typeface="Arial"/>
                <a:cs typeface="Arial"/>
                <a:sym typeface="Arial"/>
              </a:rPr>
              <a:t> ITRI Arm</a:t>
            </a:r>
            <a:endParaRPr dirty="0"/>
          </a:p>
        </p:txBody>
      </p:sp>
      <p:sp>
        <p:nvSpPr>
          <p:cNvPr id="159" name="Google Shape;159;p5"/>
          <p:cNvSpPr txBox="1"/>
          <p:nvPr/>
        </p:nvSpPr>
        <p:spPr>
          <a:xfrm>
            <a:off x="732584" y="2536929"/>
            <a:ext cx="2231999" cy="74703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rgbClr val="A64D79"/>
              </a:buClr>
              <a:buSzPts val="1400"/>
              <a:buFont typeface="Arial"/>
              <a:buNone/>
            </a:pPr>
            <a:r>
              <a:rPr lang="de-DE" sz="1600" b="0" u="none" dirty="0">
                <a:solidFill>
                  <a:srgbClr val="A64D79"/>
                </a:solidFill>
                <a:latin typeface="Arial"/>
                <a:ea typeface="Arial"/>
                <a:cs typeface="Arial"/>
                <a:sym typeface="Arial"/>
              </a:rPr>
              <a:t>Jakob Ketterer</a:t>
            </a:r>
            <a:br>
              <a:rPr lang="de-DE" sz="1600" b="0" u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</a:br>
            <a:r>
              <a:rPr lang="de-DE" b="0" u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Karlsruhe Institute </a:t>
            </a:r>
            <a:r>
              <a:rPr lang="de-DE" b="0" u="none" dirty="0" err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of</a:t>
            </a:r>
            <a:endParaRPr b="0" u="none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</a:pPr>
            <a:r>
              <a:rPr lang="de-DE" b="0" u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Technology</a:t>
            </a:r>
            <a:endParaRPr dirty="0"/>
          </a:p>
        </p:txBody>
      </p:sp>
      <p:sp>
        <p:nvSpPr>
          <p:cNvPr id="160" name="Google Shape;160;p5"/>
          <p:cNvSpPr txBox="1"/>
          <p:nvPr/>
        </p:nvSpPr>
        <p:spPr>
          <a:xfrm>
            <a:off x="3445203" y="2536927"/>
            <a:ext cx="2232000" cy="7470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rgbClr val="A64D79"/>
              </a:buClr>
              <a:buSzPts val="1400"/>
              <a:buFont typeface="Arial"/>
              <a:buNone/>
            </a:pPr>
            <a:r>
              <a:rPr lang="de-DE" sz="1600" b="0" u="none" dirty="0">
                <a:solidFill>
                  <a:srgbClr val="A64D79"/>
                </a:solidFill>
                <a:latin typeface="Arial"/>
                <a:ea typeface="Arial"/>
                <a:cs typeface="Arial"/>
                <a:sym typeface="Arial"/>
              </a:rPr>
              <a:t>Iris </a:t>
            </a:r>
            <a:r>
              <a:rPr lang="de-DE" sz="1600" b="0" u="none" dirty="0" err="1">
                <a:solidFill>
                  <a:srgbClr val="A64D79"/>
                </a:solidFill>
                <a:latin typeface="Arial"/>
                <a:ea typeface="Arial"/>
                <a:cs typeface="Arial"/>
                <a:sym typeface="Arial"/>
              </a:rPr>
              <a:t>Andrussow</a:t>
            </a:r>
            <a:endParaRPr sz="1600" b="0" u="none" dirty="0">
              <a:solidFill>
                <a:srgbClr val="8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</a:pPr>
            <a:r>
              <a:rPr lang="de-DE" b="0" u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Karlsruhe Institute </a:t>
            </a:r>
            <a:r>
              <a:rPr lang="de-DE" b="0" u="none" dirty="0" err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of</a:t>
            </a:r>
            <a:r>
              <a:rPr lang="de-DE" b="0" u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 Technology</a:t>
            </a:r>
            <a:endParaRPr b="0" u="none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61" name="Google Shape;161;p5"/>
          <p:cNvSpPr txBox="1"/>
          <p:nvPr/>
        </p:nvSpPr>
        <p:spPr>
          <a:xfrm>
            <a:off x="8870442" y="2536044"/>
            <a:ext cx="2232000" cy="74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rgbClr val="A64D79"/>
              </a:buClr>
              <a:buSzPts val="1400"/>
              <a:buFont typeface="Arial"/>
              <a:buNone/>
            </a:pPr>
            <a:r>
              <a:rPr lang="de-DE" sz="1600" b="0" u="none" dirty="0">
                <a:solidFill>
                  <a:srgbClr val="A64D79"/>
                </a:solidFill>
                <a:latin typeface="Arial"/>
                <a:ea typeface="Arial"/>
                <a:cs typeface="Arial"/>
                <a:sym typeface="Arial"/>
              </a:rPr>
              <a:t>Gregor Lied</a:t>
            </a:r>
            <a:br>
              <a:rPr lang="de-DE" sz="1600" b="0" u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</a:br>
            <a:r>
              <a:rPr lang="de-DE" b="0" u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Karlsruhe Institute </a:t>
            </a:r>
            <a:r>
              <a:rPr lang="de-DE" b="0" u="none" dirty="0" err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of</a:t>
            </a:r>
            <a:r>
              <a:rPr lang="de-DE" b="0" u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 Technology</a:t>
            </a:r>
            <a:endParaRPr dirty="0"/>
          </a:p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</a:pPr>
            <a:endParaRPr sz="1600" b="0" u="none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62" name="Google Shape;162;p5"/>
          <p:cNvSpPr txBox="1"/>
          <p:nvPr/>
        </p:nvSpPr>
        <p:spPr>
          <a:xfrm>
            <a:off x="6157823" y="2536044"/>
            <a:ext cx="2232000" cy="74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rgbClr val="A64D79"/>
              </a:buClr>
              <a:buSzPts val="1400"/>
              <a:buFont typeface="Arial"/>
              <a:buNone/>
            </a:pPr>
            <a:r>
              <a:rPr lang="de-DE" sz="1600" b="0" u="none" dirty="0">
                <a:solidFill>
                  <a:srgbClr val="A64D79"/>
                </a:solidFill>
                <a:latin typeface="Arial"/>
                <a:ea typeface="Arial"/>
                <a:cs typeface="Arial"/>
                <a:sym typeface="Arial"/>
              </a:rPr>
              <a:t>Clarissa Hamann</a:t>
            </a:r>
            <a:endParaRPr sz="1600" b="0" u="none" dirty="0">
              <a:solidFill>
                <a:srgbClr val="8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</a:pPr>
            <a:r>
              <a:rPr lang="de-DE" b="0" u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Technical University </a:t>
            </a:r>
            <a:r>
              <a:rPr lang="de-DE" b="0" u="none" dirty="0" err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Munich</a:t>
            </a:r>
            <a:endParaRPr b="0" u="none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</a:pPr>
            <a:endParaRPr sz="1600" b="0" u="none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163" name="Google Shape;163;p5"/>
          <p:cNvCxnSpPr/>
          <p:nvPr/>
        </p:nvCxnSpPr>
        <p:spPr>
          <a:xfrm>
            <a:off x="719136" y="929829"/>
            <a:ext cx="10440000" cy="0"/>
          </a:xfrm>
          <a:prstGeom prst="straightConnector1">
            <a:avLst/>
          </a:prstGeom>
          <a:noFill/>
          <a:ln w="38100" cap="flat" cmpd="sng">
            <a:solidFill>
              <a:srgbClr val="A64D79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164" name="Google Shape;164;p5"/>
          <p:cNvPicPr preferRelativeResize="0"/>
          <p:nvPr/>
        </p:nvPicPr>
        <p:blipFill rotWithShape="1">
          <a:blip r:embed="rId5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450413" y="1362463"/>
            <a:ext cx="1072058" cy="1050952"/>
          </a:xfrm>
          <a:prstGeom prst="ellipse">
            <a:avLst/>
          </a:prstGeom>
          <a:gradFill>
            <a:gsLst>
              <a:gs pos="0">
                <a:srgbClr val="F0F9FE"/>
              </a:gs>
              <a:gs pos="74000">
                <a:srgbClr val="7DD9FF"/>
              </a:gs>
              <a:gs pos="83000">
                <a:srgbClr val="7DD9FF"/>
              </a:gs>
              <a:gs pos="100000">
                <a:srgbClr val="A9E5FE"/>
              </a:gs>
            </a:gsLst>
            <a:lin ang="5400000" scaled="0"/>
          </a:gradFill>
          <a:ln w="22225" cap="flat" cmpd="sng">
            <a:solidFill>
              <a:srgbClr val="A64D79"/>
            </a:solidFill>
            <a:prstDash val="solid"/>
            <a:round/>
            <a:headEnd type="none" w="sm" len="sm"/>
            <a:tailEnd type="none" w="sm" len="sm"/>
          </a:ln>
        </p:spPr>
      </p:pic>
      <p:pic>
        <p:nvPicPr>
          <p:cNvPr id="166" name="Google Shape;166;p5"/>
          <p:cNvPicPr preferRelativeResize="0"/>
          <p:nvPr/>
        </p:nvPicPr>
        <p:blipFill rotWithShape="1">
          <a:blip r:embed="rId6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312554" y="1363855"/>
            <a:ext cx="1072059" cy="1049975"/>
          </a:xfrm>
          <a:prstGeom prst="ellipse">
            <a:avLst/>
          </a:prstGeom>
          <a:gradFill>
            <a:gsLst>
              <a:gs pos="0">
                <a:srgbClr val="F0F9FE"/>
              </a:gs>
              <a:gs pos="74000">
                <a:srgbClr val="7DD9FF"/>
              </a:gs>
              <a:gs pos="83000">
                <a:srgbClr val="7DD9FF"/>
              </a:gs>
              <a:gs pos="100000">
                <a:srgbClr val="A9E5FE"/>
              </a:gs>
            </a:gsLst>
            <a:lin ang="5400000" scaled="0"/>
          </a:gradFill>
          <a:ln w="22225" cap="flat" cmpd="sng">
            <a:solidFill>
              <a:srgbClr val="A64D79"/>
            </a:solidFill>
            <a:prstDash val="solid"/>
            <a:round/>
            <a:headEnd type="none" w="sm" len="sm"/>
            <a:tailEnd type="none" w="sm" len="sm"/>
          </a:ln>
        </p:spPr>
      </p:pic>
      <p:pic>
        <p:nvPicPr>
          <p:cNvPr id="167" name="Google Shape;167;p5"/>
          <p:cNvPicPr preferRelativeResize="0"/>
          <p:nvPr/>
        </p:nvPicPr>
        <p:blipFill rotWithShape="1">
          <a:blip r:embed="rId7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737794" y="1363855"/>
            <a:ext cx="1072059" cy="1049975"/>
          </a:xfrm>
          <a:prstGeom prst="ellipse">
            <a:avLst/>
          </a:prstGeom>
          <a:gradFill>
            <a:gsLst>
              <a:gs pos="0">
                <a:srgbClr val="F0F9FE"/>
              </a:gs>
              <a:gs pos="74000">
                <a:srgbClr val="7DD9FF"/>
              </a:gs>
              <a:gs pos="83000">
                <a:srgbClr val="7DD9FF"/>
              </a:gs>
              <a:gs pos="100000">
                <a:srgbClr val="A9E5FE"/>
              </a:gs>
            </a:gsLst>
            <a:lin ang="5400000" scaled="0"/>
          </a:gradFill>
          <a:ln w="22225" cap="flat" cmpd="sng">
            <a:solidFill>
              <a:srgbClr val="A64D79"/>
            </a:solidFill>
            <a:prstDash val="solid"/>
            <a:round/>
            <a:headEnd type="none" w="sm" len="sm"/>
            <a:tailEnd type="none" w="sm" len="sm"/>
          </a:ln>
        </p:spPr>
      </p:pic>
      <p:pic>
        <p:nvPicPr>
          <p:cNvPr id="168" name="Google Shape;168;p5"/>
          <p:cNvPicPr preferRelativeResize="0"/>
          <p:nvPr/>
        </p:nvPicPr>
        <p:blipFill rotWithShape="1">
          <a:blip r:embed="rId8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025174" y="1363855"/>
            <a:ext cx="1072059" cy="1049975"/>
          </a:xfrm>
          <a:prstGeom prst="ellipse">
            <a:avLst/>
          </a:prstGeom>
          <a:gradFill>
            <a:gsLst>
              <a:gs pos="0">
                <a:srgbClr val="F0F9FE"/>
              </a:gs>
              <a:gs pos="74000">
                <a:srgbClr val="7DD9FF"/>
              </a:gs>
              <a:gs pos="83000">
                <a:srgbClr val="7DD9FF"/>
              </a:gs>
              <a:gs pos="100000">
                <a:srgbClr val="A9E5FE"/>
              </a:gs>
            </a:gsLst>
            <a:lin ang="5400000" scaled="0"/>
          </a:gradFill>
          <a:ln w="22225" cap="flat" cmpd="sng">
            <a:solidFill>
              <a:srgbClr val="A64D79"/>
            </a:solidFill>
            <a:prstDash val="solid"/>
            <a:round/>
            <a:headEnd type="none" w="sm" len="sm"/>
            <a:tailEnd type="none" w="sm" len="sm"/>
          </a:ln>
        </p:spPr>
      </p:pic>
      <p:pic>
        <p:nvPicPr>
          <p:cNvPr id="3" name="Picture 2" descr="A picture containing indoor, sitting, sink, black&#10;&#10;Description automatically generated">
            <a:extLst>
              <a:ext uri="{FF2B5EF4-FFF2-40B4-BE49-F238E27FC236}">
                <a16:creationId xmlns:a16="http://schemas.microsoft.com/office/drawing/2014/main" id="{E61B99DF-78EE-8C4B-9F51-D06E6CB58C4C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907039" y="3383848"/>
            <a:ext cx="2092997" cy="2445481"/>
          </a:xfrm>
          <a:prstGeom prst="rect">
            <a:avLst/>
          </a:prstGeom>
          <a:ln w="19050">
            <a:solidFill>
              <a:srgbClr val="A64D79"/>
            </a:solidFill>
            <a:prstDash val="dash"/>
          </a:ln>
        </p:spPr>
      </p:pic>
      <p:sp>
        <p:nvSpPr>
          <p:cNvPr id="24" name="Google Shape;165;p5">
            <a:extLst>
              <a:ext uri="{FF2B5EF4-FFF2-40B4-BE49-F238E27FC236}">
                <a16:creationId xmlns:a16="http://schemas.microsoft.com/office/drawing/2014/main" id="{707AB697-499C-7F4C-8D6A-98459C8F47A8}"/>
              </a:ext>
            </a:extLst>
          </p:cNvPr>
          <p:cNvSpPr txBox="1"/>
          <p:nvPr/>
        </p:nvSpPr>
        <p:spPr>
          <a:xfrm>
            <a:off x="719138" y="6177600"/>
            <a:ext cx="7200000" cy="1231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de-DE" sz="800" b="0" u="none" dirty="0">
                <a:solidFill>
                  <a:srgbClr val="A64D79"/>
                </a:solidFill>
                <a:latin typeface="Arial"/>
                <a:ea typeface="Arial"/>
                <a:cs typeface="Arial"/>
                <a:sym typeface="Arial"/>
              </a:rPr>
              <a:t>Group 15 – </a:t>
            </a:r>
            <a:r>
              <a:rPr lang="de-DE" sz="800" b="0" u="none" dirty="0" err="1">
                <a:solidFill>
                  <a:srgbClr val="A64D79"/>
                </a:solidFill>
                <a:latin typeface="Arial"/>
                <a:ea typeface="Arial"/>
                <a:cs typeface="Arial"/>
                <a:sym typeface="Arial"/>
              </a:rPr>
              <a:t>RoboPong</a:t>
            </a:r>
            <a:r>
              <a:rPr lang="de-DE" sz="800" b="0" u="none" dirty="0">
                <a:solidFill>
                  <a:srgbClr val="A64D79"/>
                </a:solidFill>
                <a:latin typeface="Arial"/>
                <a:ea typeface="Arial"/>
                <a:cs typeface="Arial"/>
                <a:sym typeface="Arial"/>
              </a:rPr>
              <a:t> | Final </a:t>
            </a:r>
            <a:r>
              <a:rPr lang="de-DE" sz="800" b="0" u="none" dirty="0" err="1">
                <a:solidFill>
                  <a:srgbClr val="A64D79"/>
                </a:solidFill>
                <a:latin typeface="Arial"/>
                <a:ea typeface="Arial"/>
                <a:cs typeface="Arial"/>
                <a:sym typeface="Arial"/>
              </a:rPr>
              <a:t>Presentation</a:t>
            </a:r>
            <a:r>
              <a:rPr lang="de-DE" sz="800" b="0" u="none" dirty="0">
                <a:solidFill>
                  <a:srgbClr val="A64D79"/>
                </a:solidFill>
                <a:latin typeface="Arial"/>
                <a:ea typeface="Arial"/>
                <a:cs typeface="Arial"/>
                <a:sym typeface="Arial"/>
              </a:rPr>
              <a:t> |  CSIE5047 – </a:t>
            </a:r>
            <a:r>
              <a:rPr lang="de-DE" sz="800" b="0" u="none" dirty="0" err="1">
                <a:solidFill>
                  <a:srgbClr val="A64D79"/>
                </a:solidFill>
                <a:latin typeface="Arial"/>
                <a:ea typeface="Arial"/>
                <a:cs typeface="Arial"/>
                <a:sym typeface="Arial"/>
              </a:rPr>
              <a:t>Robotics</a:t>
            </a:r>
            <a:r>
              <a:rPr lang="de-DE" sz="800" b="0" u="none" dirty="0">
                <a:solidFill>
                  <a:srgbClr val="A64D79"/>
                </a:solidFill>
                <a:latin typeface="Arial"/>
                <a:ea typeface="Arial"/>
                <a:cs typeface="Arial"/>
                <a:sym typeface="Arial"/>
              </a:rPr>
              <a:t> | 2019/11/18</a:t>
            </a:r>
            <a:endParaRPr dirty="0"/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6" name="Google Shape;206;g7bf0d4381b_1_6"/>
          <p:cNvSpPr txBox="1">
            <a:spLocks noGrp="1"/>
          </p:cNvSpPr>
          <p:nvPr>
            <p:ph type="sldNum" idx="12"/>
          </p:nvPr>
        </p:nvSpPr>
        <p:spPr>
          <a:xfrm>
            <a:off x="179705" y="6178550"/>
            <a:ext cx="360600" cy="123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None/>
            </a:pPr>
            <a:fld id="{00000000-1234-1234-1234-123412341234}" type="slidenum">
              <a:rPr lang="de-DE"/>
              <a:t>4</a:t>
            </a:fld>
            <a:endParaRPr/>
          </a:p>
        </p:txBody>
      </p:sp>
      <p:sp>
        <p:nvSpPr>
          <p:cNvPr id="207" name="Google Shape;207;g7bf0d4381b_1_6"/>
          <p:cNvSpPr txBox="1"/>
          <p:nvPr/>
        </p:nvSpPr>
        <p:spPr>
          <a:xfrm>
            <a:off x="1087120" y="256540"/>
            <a:ext cx="4896000" cy="584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2000"/>
              </a:lnSpc>
              <a:spcBef>
                <a:spcPts val="0"/>
              </a:spcBef>
              <a:spcAft>
                <a:spcPts val="0"/>
              </a:spcAft>
              <a:buClr>
                <a:srgbClr val="A64D79"/>
              </a:buClr>
              <a:buSzPts val="3200"/>
              <a:buFont typeface="Arial"/>
              <a:buNone/>
            </a:pPr>
            <a:r>
              <a:rPr lang="de-DE" sz="3200" b="0" i="0" u="none" strike="noStrike" cap="none">
                <a:solidFill>
                  <a:srgbClr val="A64D79"/>
                </a:solidFill>
                <a:latin typeface="Arial"/>
                <a:ea typeface="Arial"/>
                <a:cs typeface="Arial"/>
                <a:sym typeface="Arial"/>
              </a:rPr>
              <a:t>Demonstration Video</a:t>
            </a:r>
            <a:endParaRPr sz="32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208" name="Google Shape;208;g7bf0d4381b_1_6"/>
          <p:cNvCxnSpPr/>
          <p:nvPr/>
        </p:nvCxnSpPr>
        <p:spPr>
          <a:xfrm>
            <a:off x="719136" y="929829"/>
            <a:ext cx="10440000" cy="0"/>
          </a:xfrm>
          <a:prstGeom prst="straightConnector1">
            <a:avLst/>
          </a:prstGeom>
          <a:noFill/>
          <a:ln w="38100" cap="flat" cmpd="sng">
            <a:solidFill>
              <a:srgbClr val="A64D79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210" name="Google Shape;210;g7bf0d4381b_1_6"/>
          <p:cNvSpPr txBox="1">
            <a:spLocks noGrp="1"/>
          </p:cNvSpPr>
          <p:nvPr>
            <p:ph type="body" idx="6"/>
          </p:nvPr>
        </p:nvSpPr>
        <p:spPr>
          <a:xfrm>
            <a:off x="719999" y="5761038"/>
            <a:ext cx="10440000" cy="179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45720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</a:pPr>
            <a:endParaRPr/>
          </a:p>
        </p:txBody>
      </p:sp>
      <p:sp>
        <p:nvSpPr>
          <p:cNvPr id="3" name="Rectangle 2">
            <a:hlinkClick r:id="rId3"/>
            <a:extLst>
              <a:ext uri="{FF2B5EF4-FFF2-40B4-BE49-F238E27FC236}">
                <a16:creationId xmlns:a16="http://schemas.microsoft.com/office/drawing/2014/main" id="{1CFF3C0F-4A84-5D4C-9778-6DCBCAE28A86}"/>
              </a:ext>
            </a:extLst>
          </p:cNvPr>
          <p:cNvSpPr/>
          <p:nvPr/>
        </p:nvSpPr>
        <p:spPr>
          <a:xfrm>
            <a:off x="719138" y="1331913"/>
            <a:ext cx="10440987" cy="3887787"/>
          </a:xfrm>
          <a:prstGeom prst="rect">
            <a:avLst/>
          </a:prstGeom>
          <a:solidFill>
            <a:srgbClr val="A64D7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600" dirty="0"/>
              <a:t>Click me to start YouTube Video</a:t>
            </a:r>
          </a:p>
        </p:txBody>
      </p:sp>
      <p:sp>
        <p:nvSpPr>
          <p:cNvPr id="9" name="Google Shape;165;p5">
            <a:extLst>
              <a:ext uri="{FF2B5EF4-FFF2-40B4-BE49-F238E27FC236}">
                <a16:creationId xmlns:a16="http://schemas.microsoft.com/office/drawing/2014/main" id="{321763A6-1EEE-084B-B80C-5E0AC673DCAD}"/>
              </a:ext>
            </a:extLst>
          </p:cNvPr>
          <p:cNvSpPr txBox="1"/>
          <p:nvPr/>
        </p:nvSpPr>
        <p:spPr>
          <a:xfrm>
            <a:off x="719138" y="6177600"/>
            <a:ext cx="7200000" cy="1231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de-DE" sz="800" b="0" u="none" dirty="0">
                <a:solidFill>
                  <a:srgbClr val="A64D79"/>
                </a:solidFill>
                <a:latin typeface="Arial"/>
                <a:ea typeface="Arial"/>
                <a:cs typeface="Arial"/>
                <a:sym typeface="Arial"/>
              </a:rPr>
              <a:t>Group 15 – </a:t>
            </a:r>
            <a:r>
              <a:rPr lang="de-DE" sz="800" b="0" u="none" dirty="0" err="1">
                <a:solidFill>
                  <a:srgbClr val="A64D79"/>
                </a:solidFill>
                <a:latin typeface="Arial"/>
                <a:ea typeface="Arial"/>
                <a:cs typeface="Arial"/>
                <a:sym typeface="Arial"/>
              </a:rPr>
              <a:t>RoboPong</a:t>
            </a:r>
            <a:r>
              <a:rPr lang="de-DE" sz="800" b="0" u="none" dirty="0">
                <a:solidFill>
                  <a:srgbClr val="A64D79"/>
                </a:solidFill>
                <a:latin typeface="Arial"/>
                <a:ea typeface="Arial"/>
                <a:cs typeface="Arial"/>
                <a:sym typeface="Arial"/>
              </a:rPr>
              <a:t> | Final </a:t>
            </a:r>
            <a:r>
              <a:rPr lang="de-DE" sz="800" b="0" u="none" dirty="0" err="1">
                <a:solidFill>
                  <a:srgbClr val="A64D79"/>
                </a:solidFill>
                <a:latin typeface="Arial"/>
                <a:ea typeface="Arial"/>
                <a:cs typeface="Arial"/>
                <a:sym typeface="Arial"/>
              </a:rPr>
              <a:t>Presentation</a:t>
            </a:r>
            <a:r>
              <a:rPr lang="de-DE" sz="800" b="0" u="none" dirty="0">
                <a:solidFill>
                  <a:srgbClr val="A64D79"/>
                </a:solidFill>
                <a:latin typeface="Arial"/>
                <a:ea typeface="Arial"/>
                <a:cs typeface="Arial"/>
                <a:sym typeface="Arial"/>
              </a:rPr>
              <a:t> |  CSIE5047 – </a:t>
            </a:r>
            <a:r>
              <a:rPr lang="de-DE" sz="800" b="0" u="none" dirty="0" err="1">
                <a:solidFill>
                  <a:srgbClr val="A64D79"/>
                </a:solidFill>
                <a:latin typeface="Arial"/>
                <a:ea typeface="Arial"/>
                <a:cs typeface="Arial"/>
                <a:sym typeface="Arial"/>
              </a:rPr>
              <a:t>Robotics</a:t>
            </a:r>
            <a:r>
              <a:rPr lang="de-DE" sz="800" b="0" u="none" dirty="0">
                <a:solidFill>
                  <a:srgbClr val="A64D79"/>
                </a:solidFill>
                <a:latin typeface="Arial"/>
                <a:ea typeface="Arial"/>
                <a:cs typeface="Arial"/>
                <a:sym typeface="Arial"/>
              </a:rPr>
              <a:t> | 2019/11/18</a:t>
            </a:r>
            <a:endParaRPr dirty="0"/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close up of a map&#10;&#10;Description automatically generated">
            <a:extLst>
              <a:ext uri="{FF2B5EF4-FFF2-40B4-BE49-F238E27FC236}">
                <a16:creationId xmlns:a16="http://schemas.microsoft.com/office/drawing/2014/main" id="{727C3504-D3AF-564D-A8FD-91CAB1017558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68599" y="3812609"/>
            <a:ext cx="2800739" cy="1942252"/>
          </a:xfrm>
          <a:prstGeom prst="rect">
            <a:avLst/>
          </a:prstGeom>
        </p:spPr>
      </p:pic>
      <p:sp>
        <p:nvSpPr>
          <p:cNvPr id="193" name="Google Shape;193;p7"/>
          <p:cNvSpPr txBox="1">
            <a:spLocks noGrp="1"/>
          </p:cNvSpPr>
          <p:nvPr>
            <p:ph type="sldNum" idx="12"/>
          </p:nvPr>
        </p:nvSpPr>
        <p:spPr>
          <a:xfrm>
            <a:off x="179705" y="6178550"/>
            <a:ext cx="360600" cy="123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None/>
            </a:pPr>
            <a:fld id="{00000000-1234-1234-1234-123412341234}" type="slidenum">
              <a:rPr lang="de-DE"/>
              <a:t>5</a:t>
            </a:fld>
            <a:endParaRPr/>
          </a:p>
        </p:txBody>
      </p:sp>
      <p:sp>
        <p:nvSpPr>
          <p:cNvPr id="194" name="Google Shape;194;p7"/>
          <p:cNvSpPr txBox="1"/>
          <p:nvPr/>
        </p:nvSpPr>
        <p:spPr>
          <a:xfrm>
            <a:off x="1087119" y="256540"/>
            <a:ext cx="9333888" cy="584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lvl="0">
              <a:lnSpc>
                <a:spcPct val="102000"/>
              </a:lnSpc>
              <a:buClr>
                <a:srgbClr val="A64D79"/>
              </a:buClr>
              <a:buSzPts val="3200"/>
            </a:pPr>
            <a:r>
              <a:rPr lang="de-DE" sz="3200" dirty="0" err="1">
                <a:solidFill>
                  <a:srgbClr val="A64D79"/>
                </a:solidFill>
              </a:rPr>
              <a:t>Catching</a:t>
            </a:r>
            <a:r>
              <a:rPr lang="de-DE" sz="3200" dirty="0">
                <a:solidFill>
                  <a:srgbClr val="A64D79"/>
                </a:solidFill>
              </a:rPr>
              <a:t> </a:t>
            </a:r>
            <a:r>
              <a:rPr lang="de-DE" sz="3200" dirty="0" err="1">
                <a:solidFill>
                  <a:srgbClr val="A64D79"/>
                </a:solidFill>
              </a:rPr>
              <a:t>Pong</a:t>
            </a:r>
            <a:r>
              <a:rPr lang="de-DE" sz="3200" dirty="0">
                <a:solidFill>
                  <a:srgbClr val="A64D79"/>
                </a:solidFill>
              </a:rPr>
              <a:t> Balls </a:t>
            </a:r>
            <a:r>
              <a:rPr lang="de-DE" sz="3200" dirty="0" err="1">
                <a:solidFill>
                  <a:srgbClr val="A64D79"/>
                </a:solidFill>
              </a:rPr>
              <a:t>with</a:t>
            </a:r>
            <a:r>
              <a:rPr lang="de-DE" sz="3200" dirty="0">
                <a:solidFill>
                  <a:srgbClr val="A64D79"/>
                </a:solidFill>
              </a:rPr>
              <a:t> ITRI Arm - </a:t>
            </a:r>
            <a:r>
              <a:rPr lang="de-DE" sz="3200" dirty="0" err="1">
                <a:solidFill>
                  <a:srgbClr val="A64D79"/>
                </a:solidFill>
              </a:rPr>
              <a:t>Subtasks</a:t>
            </a:r>
            <a:endParaRPr sz="3200" b="0" i="0" u="none" strike="noStrike" cap="none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97" name="Google Shape;197;p7"/>
          <p:cNvSpPr txBox="1">
            <a:spLocks noGrp="1"/>
          </p:cNvSpPr>
          <p:nvPr>
            <p:ph type="body" idx="6"/>
          </p:nvPr>
        </p:nvSpPr>
        <p:spPr>
          <a:xfrm>
            <a:off x="719999" y="5761038"/>
            <a:ext cx="10440000" cy="179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45720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</a:pPr>
            <a:endParaRPr/>
          </a:p>
        </p:txBody>
      </p:sp>
      <p:pic>
        <p:nvPicPr>
          <p:cNvPr id="21" name="Picture 20" descr="A picture containing indoor, sitting, sink, black&#10;&#10;Description automatically generated">
            <a:extLst>
              <a:ext uri="{FF2B5EF4-FFF2-40B4-BE49-F238E27FC236}">
                <a16:creationId xmlns:a16="http://schemas.microsoft.com/office/drawing/2014/main" id="{89725E07-3723-4642-92D0-E21B9AC8D700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9564283" y="3908924"/>
            <a:ext cx="1443705" cy="1686841"/>
          </a:xfrm>
          <a:prstGeom prst="rect">
            <a:avLst/>
          </a:prstGeom>
          <a:ln w="19050">
            <a:noFill/>
            <a:prstDash val="dash"/>
          </a:ln>
        </p:spPr>
      </p:pic>
      <p:pic>
        <p:nvPicPr>
          <p:cNvPr id="7" name="Picture 6" descr="A screenshot of a computer screen&#10;&#10;Description automatically generated">
            <a:extLst>
              <a:ext uri="{FF2B5EF4-FFF2-40B4-BE49-F238E27FC236}">
                <a16:creationId xmlns:a16="http://schemas.microsoft.com/office/drawing/2014/main" id="{71B0150C-1EA7-AD41-94D8-98760E8BD542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9138" y="2149416"/>
            <a:ext cx="2627515" cy="1458522"/>
          </a:xfrm>
          <a:prstGeom prst="rect">
            <a:avLst/>
          </a:prstGeom>
        </p:spPr>
      </p:pic>
      <p:grpSp>
        <p:nvGrpSpPr>
          <p:cNvPr id="5" name="Group 4">
            <a:extLst>
              <a:ext uri="{FF2B5EF4-FFF2-40B4-BE49-F238E27FC236}">
                <a16:creationId xmlns:a16="http://schemas.microsoft.com/office/drawing/2014/main" id="{C0CCE7D7-3222-F147-8550-1F15D680D138}"/>
              </a:ext>
            </a:extLst>
          </p:cNvPr>
          <p:cNvGrpSpPr/>
          <p:nvPr/>
        </p:nvGrpSpPr>
        <p:grpSpPr>
          <a:xfrm>
            <a:off x="6978098" y="2281814"/>
            <a:ext cx="4182025" cy="1678813"/>
            <a:chOff x="7159910" y="2064839"/>
            <a:chExt cx="1890137" cy="1175248"/>
          </a:xfrm>
        </p:grpSpPr>
        <p:pic>
          <p:nvPicPr>
            <p:cNvPr id="198" name="Google Shape;198;p7"/>
            <p:cNvPicPr preferRelativeResize="0"/>
            <p:nvPr/>
          </p:nvPicPr>
          <p:blipFill rotWithShape="1">
            <a:blip r:embed="rId6" cstate="screen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181303" y="2064839"/>
              <a:ext cx="1868744" cy="1175248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201" name="Google Shape;201;p7"/>
            <p:cNvSpPr txBox="1"/>
            <p:nvPr/>
          </p:nvSpPr>
          <p:spPr>
            <a:xfrm>
              <a:off x="8155206" y="2912919"/>
              <a:ext cx="461700" cy="3027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de-DE" sz="1200" dirty="0">
                  <a:solidFill>
                    <a:srgbClr val="00FF00"/>
                  </a:solidFill>
                </a:rPr>
                <a:t>x</a:t>
              </a:r>
              <a:endParaRPr sz="1200" dirty="0">
                <a:solidFill>
                  <a:srgbClr val="00FF00"/>
                </a:solidFill>
              </a:endParaRPr>
            </a:p>
          </p:txBody>
        </p:sp>
        <p:sp>
          <p:nvSpPr>
            <p:cNvPr id="22" name="Google Shape;201;p7">
              <a:extLst>
                <a:ext uri="{FF2B5EF4-FFF2-40B4-BE49-F238E27FC236}">
                  <a16:creationId xmlns:a16="http://schemas.microsoft.com/office/drawing/2014/main" id="{26566410-CC37-5840-803D-7AC08636657A}"/>
                </a:ext>
              </a:extLst>
            </p:cNvPr>
            <p:cNvSpPr txBox="1"/>
            <p:nvPr/>
          </p:nvSpPr>
          <p:spPr>
            <a:xfrm>
              <a:off x="7159910" y="2186328"/>
              <a:ext cx="461700" cy="3027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de-DE" sz="1000" dirty="0">
                  <a:solidFill>
                    <a:srgbClr val="FF0000"/>
                  </a:solidFill>
                </a:rPr>
                <a:t>x</a:t>
              </a:r>
              <a:endParaRPr sz="1000" dirty="0">
                <a:solidFill>
                  <a:srgbClr val="FF0000"/>
                </a:solidFill>
              </a:endParaRPr>
            </a:p>
          </p:txBody>
        </p:sp>
      </p:grpSp>
      <p:sp>
        <p:nvSpPr>
          <p:cNvPr id="32" name="Google Shape;201;p7">
            <a:extLst>
              <a:ext uri="{FF2B5EF4-FFF2-40B4-BE49-F238E27FC236}">
                <a16:creationId xmlns:a16="http://schemas.microsoft.com/office/drawing/2014/main" id="{5130671D-8A6E-734B-8905-D4C82273DA8A}"/>
              </a:ext>
            </a:extLst>
          </p:cNvPr>
          <p:cNvSpPr txBox="1"/>
          <p:nvPr/>
        </p:nvSpPr>
        <p:spPr>
          <a:xfrm>
            <a:off x="7234724" y="2352994"/>
            <a:ext cx="1021535" cy="43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de-DE" sz="1000" dirty="0">
                <a:solidFill>
                  <a:srgbClr val="FF0000"/>
                </a:solidFill>
              </a:rPr>
              <a:t>x</a:t>
            </a:r>
            <a:endParaRPr sz="1000" dirty="0">
              <a:solidFill>
                <a:srgbClr val="FF0000"/>
              </a:solidFill>
            </a:endParaRPr>
          </a:p>
        </p:txBody>
      </p:sp>
      <p:sp>
        <p:nvSpPr>
          <p:cNvPr id="33" name="Google Shape;201;p7">
            <a:extLst>
              <a:ext uri="{FF2B5EF4-FFF2-40B4-BE49-F238E27FC236}">
                <a16:creationId xmlns:a16="http://schemas.microsoft.com/office/drawing/2014/main" id="{9D030EC0-2E87-854E-A586-BEFB5064456F}"/>
              </a:ext>
            </a:extLst>
          </p:cNvPr>
          <p:cNvSpPr txBox="1"/>
          <p:nvPr/>
        </p:nvSpPr>
        <p:spPr>
          <a:xfrm>
            <a:off x="7526397" y="2352994"/>
            <a:ext cx="1021535" cy="43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de-DE" sz="1000" dirty="0">
                <a:solidFill>
                  <a:srgbClr val="FF0000"/>
                </a:solidFill>
              </a:rPr>
              <a:t>x</a:t>
            </a:r>
            <a:endParaRPr sz="1000" dirty="0">
              <a:solidFill>
                <a:srgbClr val="FF0000"/>
              </a:solidFill>
            </a:endParaRPr>
          </a:p>
        </p:txBody>
      </p:sp>
      <p:sp>
        <p:nvSpPr>
          <p:cNvPr id="34" name="Google Shape;201;p7">
            <a:extLst>
              <a:ext uri="{FF2B5EF4-FFF2-40B4-BE49-F238E27FC236}">
                <a16:creationId xmlns:a16="http://schemas.microsoft.com/office/drawing/2014/main" id="{66527D94-F075-2F42-96BE-82673BAAEC0A}"/>
              </a:ext>
            </a:extLst>
          </p:cNvPr>
          <p:cNvSpPr txBox="1"/>
          <p:nvPr/>
        </p:nvSpPr>
        <p:spPr>
          <a:xfrm>
            <a:off x="7643037" y="2352994"/>
            <a:ext cx="1021535" cy="43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de-DE" sz="1000" dirty="0">
                <a:solidFill>
                  <a:srgbClr val="FF0000"/>
                </a:solidFill>
              </a:rPr>
              <a:t>x</a:t>
            </a:r>
            <a:endParaRPr sz="1000" dirty="0">
              <a:solidFill>
                <a:srgbClr val="FF0000"/>
              </a:solidFill>
            </a:endParaRPr>
          </a:p>
        </p:txBody>
      </p:sp>
      <p:sp>
        <p:nvSpPr>
          <p:cNvPr id="35" name="Google Shape;201;p7">
            <a:extLst>
              <a:ext uri="{FF2B5EF4-FFF2-40B4-BE49-F238E27FC236}">
                <a16:creationId xmlns:a16="http://schemas.microsoft.com/office/drawing/2014/main" id="{3D5E451A-2AF1-0244-BEB6-BECFBBCC5AA5}"/>
              </a:ext>
            </a:extLst>
          </p:cNvPr>
          <p:cNvSpPr txBox="1"/>
          <p:nvPr/>
        </p:nvSpPr>
        <p:spPr>
          <a:xfrm>
            <a:off x="7740730" y="2360664"/>
            <a:ext cx="1021535" cy="43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de-DE" sz="1000" dirty="0">
                <a:solidFill>
                  <a:srgbClr val="FF0000"/>
                </a:solidFill>
              </a:rPr>
              <a:t>x</a:t>
            </a:r>
            <a:endParaRPr sz="1000" dirty="0">
              <a:solidFill>
                <a:srgbClr val="FF0000"/>
              </a:solidFill>
            </a:endParaRPr>
          </a:p>
        </p:txBody>
      </p:sp>
      <p:sp>
        <p:nvSpPr>
          <p:cNvPr id="36" name="Google Shape;201;p7">
            <a:extLst>
              <a:ext uri="{FF2B5EF4-FFF2-40B4-BE49-F238E27FC236}">
                <a16:creationId xmlns:a16="http://schemas.microsoft.com/office/drawing/2014/main" id="{B733EECF-0F99-7442-9315-7C501CBB8759}"/>
              </a:ext>
            </a:extLst>
          </p:cNvPr>
          <p:cNvSpPr txBox="1"/>
          <p:nvPr/>
        </p:nvSpPr>
        <p:spPr>
          <a:xfrm>
            <a:off x="7990414" y="2455072"/>
            <a:ext cx="1021535" cy="43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de-DE" sz="1000" dirty="0">
                <a:solidFill>
                  <a:srgbClr val="FF0000"/>
                </a:solidFill>
              </a:rPr>
              <a:t>x</a:t>
            </a:r>
            <a:endParaRPr sz="1000" dirty="0">
              <a:solidFill>
                <a:srgbClr val="FF0000"/>
              </a:solidFill>
            </a:endParaRPr>
          </a:p>
        </p:txBody>
      </p:sp>
      <p:sp>
        <p:nvSpPr>
          <p:cNvPr id="37" name="Google Shape;201;p7">
            <a:extLst>
              <a:ext uri="{FF2B5EF4-FFF2-40B4-BE49-F238E27FC236}">
                <a16:creationId xmlns:a16="http://schemas.microsoft.com/office/drawing/2014/main" id="{90773383-B877-744E-83BD-363EF095ED13}"/>
              </a:ext>
            </a:extLst>
          </p:cNvPr>
          <p:cNvSpPr txBox="1"/>
          <p:nvPr/>
        </p:nvSpPr>
        <p:spPr>
          <a:xfrm>
            <a:off x="7911451" y="2419777"/>
            <a:ext cx="1021535" cy="43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de-DE" sz="1000" dirty="0">
                <a:solidFill>
                  <a:srgbClr val="FF0000"/>
                </a:solidFill>
              </a:rPr>
              <a:t>x</a:t>
            </a:r>
            <a:endParaRPr sz="1000" dirty="0">
              <a:solidFill>
                <a:srgbClr val="FF0000"/>
              </a:solidFill>
            </a:endParaRPr>
          </a:p>
        </p:txBody>
      </p:sp>
      <p:pic>
        <p:nvPicPr>
          <p:cNvPr id="8" name="Picture 7" descr="A screenshot of a computer screen&#10;&#10;Description automatically generated">
            <a:extLst>
              <a:ext uri="{FF2B5EF4-FFF2-40B4-BE49-F238E27FC236}">
                <a16:creationId xmlns:a16="http://schemas.microsoft.com/office/drawing/2014/main" id="{1CB7776E-BD8B-E24C-A1F0-E1FFA570089C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517374" y="2388366"/>
            <a:ext cx="3328739" cy="1428714"/>
          </a:xfrm>
          <a:prstGeom prst="rect">
            <a:avLst/>
          </a:prstGeom>
        </p:spPr>
      </p:pic>
      <p:pic>
        <p:nvPicPr>
          <p:cNvPr id="38" name="Picture 37" descr="A screenshot of a computer screen&#10;&#10;Description automatically generated">
            <a:extLst>
              <a:ext uri="{FF2B5EF4-FFF2-40B4-BE49-F238E27FC236}">
                <a16:creationId xmlns:a16="http://schemas.microsoft.com/office/drawing/2014/main" id="{8F799FAA-386F-2B4C-9916-D5166EC2279D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265929" y="3927041"/>
            <a:ext cx="3843813" cy="1547156"/>
          </a:xfrm>
          <a:prstGeom prst="rect">
            <a:avLst/>
          </a:prstGeom>
        </p:spPr>
      </p:pic>
      <p:grpSp>
        <p:nvGrpSpPr>
          <p:cNvPr id="40" name="Group 39">
            <a:extLst>
              <a:ext uri="{FF2B5EF4-FFF2-40B4-BE49-F238E27FC236}">
                <a16:creationId xmlns:a16="http://schemas.microsoft.com/office/drawing/2014/main" id="{A77126E6-86C8-6F46-9E81-9E92AB9BA7FC}"/>
              </a:ext>
            </a:extLst>
          </p:cNvPr>
          <p:cNvGrpSpPr/>
          <p:nvPr/>
        </p:nvGrpSpPr>
        <p:grpSpPr>
          <a:xfrm>
            <a:off x="719136" y="1118385"/>
            <a:ext cx="10440000" cy="779629"/>
            <a:chOff x="719136" y="1048048"/>
            <a:chExt cx="10440000" cy="779629"/>
          </a:xfrm>
        </p:grpSpPr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86F8B1FF-FF66-E148-BCE5-1174500AA785}"/>
                </a:ext>
              </a:extLst>
            </p:cNvPr>
            <p:cNvSpPr/>
            <p:nvPr/>
          </p:nvSpPr>
          <p:spPr>
            <a:xfrm>
              <a:off x="2901751" y="1048048"/>
              <a:ext cx="1745999" cy="779629"/>
            </a:xfrm>
            <a:prstGeom prst="rect">
              <a:avLst/>
            </a:prstGeom>
            <a:solidFill>
              <a:srgbClr val="A64D7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dirty="0"/>
                <a:t>3D Robot-Camera Calibration</a:t>
              </a:r>
            </a:p>
          </p:txBody>
        </p:sp>
        <p:sp>
          <p:nvSpPr>
            <p:cNvPr id="45" name="Rectangle 44">
              <a:extLst>
                <a:ext uri="{FF2B5EF4-FFF2-40B4-BE49-F238E27FC236}">
                  <a16:creationId xmlns:a16="http://schemas.microsoft.com/office/drawing/2014/main" id="{B6A01B2B-B538-A54A-A5FB-78500EE7113D}"/>
                </a:ext>
              </a:extLst>
            </p:cNvPr>
            <p:cNvSpPr/>
            <p:nvPr/>
          </p:nvSpPr>
          <p:spPr>
            <a:xfrm>
              <a:off x="5072213" y="1048048"/>
              <a:ext cx="1745999" cy="779629"/>
            </a:xfrm>
            <a:prstGeom prst="rect">
              <a:avLst/>
            </a:prstGeom>
            <a:solidFill>
              <a:srgbClr val="A64D7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latin typeface="Arial" panose="020B0604020202020204" pitchFamily="34" charset="0"/>
                </a:rPr>
                <a:t>Ball Detection</a:t>
              </a:r>
              <a:endParaRPr lang="en-US" dirty="0">
                <a:latin typeface="-webkit-standard"/>
              </a:endParaRPr>
            </a:p>
          </p:txBody>
        </p:sp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id="{FAC5C754-A5DF-F64D-9276-1FE19ABEA4C3}"/>
                </a:ext>
              </a:extLst>
            </p:cNvPr>
            <p:cNvSpPr/>
            <p:nvPr/>
          </p:nvSpPr>
          <p:spPr>
            <a:xfrm>
              <a:off x="7242675" y="1048048"/>
              <a:ext cx="1745999" cy="779629"/>
            </a:xfrm>
            <a:prstGeom prst="rect">
              <a:avLst/>
            </a:prstGeom>
            <a:solidFill>
              <a:srgbClr val="A64D7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latin typeface="Arial" panose="020B0604020202020204" pitchFamily="34" charset="0"/>
                </a:rPr>
                <a:t>Ball Trajectory Estimation</a:t>
              </a:r>
              <a:endParaRPr lang="en-US" dirty="0">
                <a:latin typeface="-webkit-standard"/>
              </a:endParaRPr>
            </a:p>
          </p:txBody>
        </p:sp>
        <p:sp>
          <p:nvSpPr>
            <p:cNvPr id="47" name="Rectangle 46">
              <a:extLst>
                <a:ext uri="{FF2B5EF4-FFF2-40B4-BE49-F238E27FC236}">
                  <a16:creationId xmlns:a16="http://schemas.microsoft.com/office/drawing/2014/main" id="{5C6A6640-54EB-DC41-9E97-F3B6EFE4DA08}"/>
                </a:ext>
              </a:extLst>
            </p:cNvPr>
            <p:cNvSpPr/>
            <p:nvPr/>
          </p:nvSpPr>
          <p:spPr>
            <a:xfrm>
              <a:off x="9413137" y="1048048"/>
              <a:ext cx="1745999" cy="779629"/>
            </a:xfrm>
            <a:prstGeom prst="rect">
              <a:avLst/>
            </a:prstGeom>
            <a:solidFill>
              <a:srgbClr val="A64D7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latin typeface="Arial" panose="020B0604020202020204" pitchFamily="34" charset="0"/>
                </a:rPr>
                <a:t>Robot Movement</a:t>
              </a:r>
              <a:endParaRPr lang="en-US" dirty="0">
                <a:latin typeface="-webkit-standard"/>
              </a:endParaRPr>
            </a:p>
          </p:txBody>
        </p:sp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D62180CE-585B-F54F-BE9E-AB64CC851B7D}"/>
                </a:ext>
              </a:extLst>
            </p:cNvPr>
            <p:cNvSpPr/>
            <p:nvPr/>
          </p:nvSpPr>
          <p:spPr>
            <a:xfrm>
              <a:off x="719136" y="1048048"/>
              <a:ext cx="1745999" cy="779629"/>
            </a:xfrm>
            <a:prstGeom prst="rect">
              <a:avLst/>
            </a:prstGeom>
            <a:solidFill>
              <a:srgbClr val="A64D7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dirty="0"/>
                <a:t>TCP – Connection</a:t>
              </a:r>
            </a:p>
          </p:txBody>
        </p:sp>
        <p:cxnSp>
          <p:nvCxnSpPr>
            <p:cNvPr id="49" name="Straight Arrow Connector 48">
              <a:extLst>
                <a:ext uri="{FF2B5EF4-FFF2-40B4-BE49-F238E27FC236}">
                  <a16:creationId xmlns:a16="http://schemas.microsoft.com/office/drawing/2014/main" id="{035A2FAF-CCC3-A649-A8AD-0521BE0723D8}"/>
                </a:ext>
              </a:extLst>
            </p:cNvPr>
            <p:cNvCxnSpPr>
              <a:cxnSpLocks/>
            </p:cNvCxnSpPr>
            <p:nvPr/>
          </p:nvCxnSpPr>
          <p:spPr>
            <a:xfrm>
              <a:off x="2335626" y="1437862"/>
              <a:ext cx="566125" cy="0"/>
            </a:xfrm>
            <a:prstGeom prst="straightConnector1">
              <a:avLst/>
            </a:prstGeom>
            <a:ln w="47625">
              <a:solidFill>
                <a:srgbClr val="A64D79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Straight Arrow Connector 49">
              <a:extLst>
                <a:ext uri="{FF2B5EF4-FFF2-40B4-BE49-F238E27FC236}">
                  <a16:creationId xmlns:a16="http://schemas.microsoft.com/office/drawing/2014/main" id="{B779BBA8-CAF1-2240-8719-939041150EF0}"/>
                </a:ext>
              </a:extLst>
            </p:cNvPr>
            <p:cNvCxnSpPr>
              <a:cxnSpLocks/>
            </p:cNvCxnSpPr>
            <p:nvPr/>
          </p:nvCxnSpPr>
          <p:spPr>
            <a:xfrm>
              <a:off x="4506088" y="1437862"/>
              <a:ext cx="566125" cy="0"/>
            </a:xfrm>
            <a:prstGeom prst="straightConnector1">
              <a:avLst/>
            </a:prstGeom>
            <a:ln w="47625">
              <a:solidFill>
                <a:srgbClr val="A64D79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Straight Arrow Connector 50">
              <a:extLst>
                <a:ext uri="{FF2B5EF4-FFF2-40B4-BE49-F238E27FC236}">
                  <a16:creationId xmlns:a16="http://schemas.microsoft.com/office/drawing/2014/main" id="{7CE685C1-F361-EA4B-B489-3E2BD9169E91}"/>
                </a:ext>
              </a:extLst>
            </p:cNvPr>
            <p:cNvCxnSpPr>
              <a:cxnSpLocks/>
            </p:cNvCxnSpPr>
            <p:nvPr/>
          </p:nvCxnSpPr>
          <p:spPr>
            <a:xfrm>
              <a:off x="6668599" y="1437862"/>
              <a:ext cx="566125" cy="0"/>
            </a:xfrm>
            <a:prstGeom prst="straightConnector1">
              <a:avLst/>
            </a:prstGeom>
            <a:ln w="47625">
              <a:solidFill>
                <a:srgbClr val="A64D79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Straight Arrow Connector 51">
              <a:extLst>
                <a:ext uri="{FF2B5EF4-FFF2-40B4-BE49-F238E27FC236}">
                  <a16:creationId xmlns:a16="http://schemas.microsoft.com/office/drawing/2014/main" id="{5BADF802-0FA9-2C45-9F29-3D71E09829DA}"/>
                </a:ext>
              </a:extLst>
            </p:cNvPr>
            <p:cNvCxnSpPr>
              <a:cxnSpLocks/>
            </p:cNvCxnSpPr>
            <p:nvPr/>
          </p:nvCxnSpPr>
          <p:spPr>
            <a:xfrm>
              <a:off x="8876590" y="1437862"/>
              <a:ext cx="566125" cy="0"/>
            </a:xfrm>
            <a:prstGeom prst="straightConnector1">
              <a:avLst/>
            </a:prstGeom>
            <a:ln w="47625">
              <a:solidFill>
                <a:srgbClr val="A64D79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54" name="Picture 53" descr="A picture containing indoor, sitting, table, small&#10;&#10;Description automatically generated">
            <a:extLst>
              <a:ext uri="{FF2B5EF4-FFF2-40B4-BE49-F238E27FC236}">
                <a16:creationId xmlns:a16="http://schemas.microsoft.com/office/drawing/2014/main" id="{9BD2FD35-6F5E-064A-AED7-F15D705E9B05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499614" y="3887200"/>
            <a:ext cx="1813710" cy="1360283"/>
          </a:xfrm>
          <a:prstGeom prst="rect">
            <a:avLst/>
          </a:prstGeom>
        </p:spPr>
      </p:pic>
      <p:cxnSp>
        <p:nvCxnSpPr>
          <p:cNvPr id="55" name="Google Shape;195;p7">
            <a:extLst>
              <a:ext uri="{FF2B5EF4-FFF2-40B4-BE49-F238E27FC236}">
                <a16:creationId xmlns:a16="http://schemas.microsoft.com/office/drawing/2014/main" id="{C4F68FF9-6F21-824B-9295-15F7F0101D84}"/>
              </a:ext>
            </a:extLst>
          </p:cNvPr>
          <p:cNvCxnSpPr/>
          <p:nvPr/>
        </p:nvCxnSpPr>
        <p:spPr>
          <a:xfrm>
            <a:off x="719136" y="929829"/>
            <a:ext cx="10440000" cy="0"/>
          </a:xfrm>
          <a:prstGeom prst="straightConnector1">
            <a:avLst/>
          </a:prstGeom>
          <a:noFill/>
          <a:ln w="38100" cap="flat" cmpd="sng">
            <a:solidFill>
              <a:srgbClr val="A64D79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56" name="Google Shape;163;p5">
            <a:extLst>
              <a:ext uri="{FF2B5EF4-FFF2-40B4-BE49-F238E27FC236}">
                <a16:creationId xmlns:a16="http://schemas.microsoft.com/office/drawing/2014/main" id="{2D1026A6-EC2E-CE43-B7C3-F5E5056A48CD}"/>
              </a:ext>
            </a:extLst>
          </p:cNvPr>
          <p:cNvCxnSpPr/>
          <p:nvPr/>
        </p:nvCxnSpPr>
        <p:spPr>
          <a:xfrm>
            <a:off x="719136" y="2086569"/>
            <a:ext cx="10440000" cy="0"/>
          </a:xfrm>
          <a:prstGeom prst="straightConnector1">
            <a:avLst/>
          </a:prstGeom>
          <a:noFill/>
          <a:ln w="25400" cap="flat" cmpd="sng">
            <a:solidFill>
              <a:srgbClr val="A64D79"/>
            </a:solidFill>
            <a:prstDash val="dash"/>
            <a:round/>
            <a:headEnd type="none" w="sm" len="sm"/>
            <a:tailEnd type="none" w="sm" len="sm"/>
          </a:ln>
        </p:spPr>
      </p:cxnSp>
      <p:sp>
        <p:nvSpPr>
          <p:cNvPr id="58" name="Google Shape;165;p5">
            <a:extLst>
              <a:ext uri="{FF2B5EF4-FFF2-40B4-BE49-F238E27FC236}">
                <a16:creationId xmlns:a16="http://schemas.microsoft.com/office/drawing/2014/main" id="{493F0ECD-2C18-6C4E-9C49-FB96D630C9D3}"/>
              </a:ext>
            </a:extLst>
          </p:cNvPr>
          <p:cNvSpPr txBox="1"/>
          <p:nvPr/>
        </p:nvSpPr>
        <p:spPr>
          <a:xfrm>
            <a:off x="719138" y="6177600"/>
            <a:ext cx="7200000" cy="1231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de-DE" sz="800" b="0" u="none" dirty="0">
                <a:solidFill>
                  <a:srgbClr val="A64D79"/>
                </a:solidFill>
                <a:latin typeface="Arial"/>
                <a:ea typeface="Arial"/>
                <a:cs typeface="Arial"/>
                <a:sym typeface="Arial"/>
              </a:rPr>
              <a:t>Group 15 – </a:t>
            </a:r>
            <a:r>
              <a:rPr lang="de-DE" sz="800" b="0" u="none" dirty="0" err="1">
                <a:solidFill>
                  <a:srgbClr val="A64D79"/>
                </a:solidFill>
                <a:latin typeface="Arial"/>
                <a:ea typeface="Arial"/>
                <a:cs typeface="Arial"/>
                <a:sym typeface="Arial"/>
              </a:rPr>
              <a:t>RoboPong</a:t>
            </a:r>
            <a:r>
              <a:rPr lang="de-DE" sz="800" b="0" u="none" dirty="0">
                <a:solidFill>
                  <a:srgbClr val="A64D79"/>
                </a:solidFill>
                <a:latin typeface="Arial"/>
                <a:ea typeface="Arial"/>
                <a:cs typeface="Arial"/>
                <a:sym typeface="Arial"/>
              </a:rPr>
              <a:t> | Final </a:t>
            </a:r>
            <a:r>
              <a:rPr lang="de-DE" sz="800" b="0" u="none" dirty="0" err="1">
                <a:solidFill>
                  <a:srgbClr val="A64D79"/>
                </a:solidFill>
                <a:latin typeface="Arial"/>
                <a:ea typeface="Arial"/>
                <a:cs typeface="Arial"/>
                <a:sym typeface="Arial"/>
              </a:rPr>
              <a:t>Presentation</a:t>
            </a:r>
            <a:r>
              <a:rPr lang="de-DE" sz="800" b="0" u="none" dirty="0">
                <a:solidFill>
                  <a:srgbClr val="A64D79"/>
                </a:solidFill>
                <a:latin typeface="Arial"/>
                <a:ea typeface="Arial"/>
                <a:cs typeface="Arial"/>
                <a:sym typeface="Arial"/>
              </a:rPr>
              <a:t> |  CSIE5047 – </a:t>
            </a:r>
            <a:r>
              <a:rPr lang="de-DE" sz="800" b="0" u="none" dirty="0" err="1">
                <a:solidFill>
                  <a:srgbClr val="A64D79"/>
                </a:solidFill>
                <a:latin typeface="Arial"/>
                <a:ea typeface="Arial"/>
                <a:cs typeface="Arial"/>
                <a:sym typeface="Arial"/>
              </a:rPr>
              <a:t>Robotics</a:t>
            </a:r>
            <a:r>
              <a:rPr lang="de-DE" sz="800" b="0" u="none" dirty="0">
                <a:solidFill>
                  <a:srgbClr val="A64D79"/>
                </a:solidFill>
                <a:latin typeface="Arial"/>
                <a:ea typeface="Arial"/>
                <a:cs typeface="Arial"/>
                <a:sym typeface="Arial"/>
              </a:rPr>
              <a:t> | 2019/11/18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11398728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3" name="Google Shape;193;p7"/>
          <p:cNvSpPr txBox="1">
            <a:spLocks noGrp="1"/>
          </p:cNvSpPr>
          <p:nvPr>
            <p:ph type="sldNum" idx="12"/>
          </p:nvPr>
        </p:nvSpPr>
        <p:spPr>
          <a:xfrm>
            <a:off x="179705" y="6178550"/>
            <a:ext cx="360600" cy="123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None/>
            </a:pPr>
            <a:fld id="{00000000-1234-1234-1234-123412341234}" type="slidenum">
              <a:rPr lang="de-DE"/>
              <a:t>6</a:t>
            </a:fld>
            <a:endParaRPr/>
          </a:p>
        </p:txBody>
      </p:sp>
      <p:sp>
        <p:nvSpPr>
          <p:cNvPr id="194" name="Google Shape;194;p7"/>
          <p:cNvSpPr txBox="1"/>
          <p:nvPr/>
        </p:nvSpPr>
        <p:spPr>
          <a:xfrm>
            <a:off x="1087119" y="256540"/>
            <a:ext cx="9333888" cy="584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lvl="0">
              <a:lnSpc>
                <a:spcPct val="102000"/>
              </a:lnSpc>
              <a:buClr>
                <a:srgbClr val="A64D79"/>
              </a:buClr>
              <a:buSzPts val="3200"/>
            </a:pPr>
            <a:r>
              <a:rPr lang="de-DE" sz="3200" dirty="0" err="1">
                <a:solidFill>
                  <a:srgbClr val="A64D79"/>
                </a:solidFill>
              </a:rPr>
              <a:t>Catching</a:t>
            </a:r>
            <a:r>
              <a:rPr lang="de-DE" sz="3200" dirty="0">
                <a:solidFill>
                  <a:srgbClr val="A64D79"/>
                </a:solidFill>
              </a:rPr>
              <a:t> </a:t>
            </a:r>
            <a:r>
              <a:rPr lang="de-DE" sz="3200" dirty="0" err="1">
                <a:solidFill>
                  <a:srgbClr val="A64D79"/>
                </a:solidFill>
              </a:rPr>
              <a:t>Pong</a:t>
            </a:r>
            <a:r>
              <a:rPr lang="de-DE" sz="3200" dirty="0">
                <a:solidFill>
                  <a:srgbClr val="A64D79"/>
                </a:solidFill>
              </a:rPr>
              <a:t> Balls </a:t>
            </a:r>
            <a:r>
              <a:rPr lang="de-DE" sz="3200" dirty="0" err="1">
                <a:solidFill>
                  <a:srgbClr val="A64D79"/>
                </a:solidFill>
              </a:rPr>
              <a:t>with</a:t>
            </a:r>
            <a:r>
              <a:rPr lang="de-DE" sz="3200" dirty="0">
                <a:solidFill>
                  <a:srgbClr val="A64D79"/>
                </a:solidFill>
              </a:rPr>
              <a:t> ITRI Arm - </a:t>
            </a:r>
            <a:r>
              <a:rPr lang="de-DE" sz="3200" dirty="0" err="1">
                <a:solidFill>
                  <a:srgbClr val="A64D79"/>
                </a:solidFill>
              </a:rPr>
              <a:t>Subtasks</a:t>
            </a:r>
            <a:endParaRPr sz="3200" b="0" i="0" u="none" strike="noStrike" cap="none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195" name="Google Shape;195;p7"/>
          <p:cNvCxnSpPr/>
          <p:nvPr/>
        </p:nvCxnSpPr>
        <p:spPr>
          <a:xfrm>
            <a:off x="719136" y="929829"/>
            <a:ext cx="10440000" cy="0"/>
          </a:xfrm>
          <a:prstGeom prst="straightConnector1">
            <a:avLst/>
          </a:prstGeom>
          <a:noFill/>
          <a:ln w="38100" cap="flat" cmpd="sng">
            <a:solidFill>
              <a:srgbClr val="A64D79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197" name="Google Shape;197;p7"/>
          <p:cNvSpPr txBox="1">
            <a:spLocks noGrp="1"/>
          </p:cNvSpPr>
          <p:nvPr>
            <p:ph type="body" idx="6"/>
          </p:nvPr>
        </p:nvSpPr>
        <p:spPr>
          <a:xfrm>
            <a:off x="719999" y="5761038"/>
            <a:ext cx="10440000" cy="179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45720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</a:pPr>
            <a:endParaRPr/>
          </a:p>
        </p:txBody>
      </p:sp>
      <p:pic>
        <p:nvPicPr>
          <p:cNvPr id="7" name="Picture 6" descr="A screenshot of a computer screen&#10;&#10;Description automatically generated">
            <a:extLst>
              <a:ext uri="{FF2B5EF4-FFF2-40B4-BE49-F238E27FC236}">
                <a16:creationId xmlns:a16="http://schemas.microsoft.com/office/drawing/2014/main" id="{71B0150C-1EA7-AD41-94D8-98760E8BD542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149601" y="2286091"/>
            <a:ext cx="5221287" cy="2898313"/>
          </a:xfrm>
          <a:prstGeom prst="rect">
            <a:avLst/>
          </a:prstGeom>
        </p:spPr>
      </p:pic>
      <p:grpSp>
        <p:nvGrpSpPr>
          <p:cNvPr id="2" name="Group 1">
            <a:extLst>
              <a:ext uri="{FF2B5EF4-FFF2-40B4-BE49-F238E27FC236}">
                <a16:creationId xmlns:a16="http://schemas.microsoft.com/office/drawing/2014/main" id="{76CD2151-0F01-AC40-8236-5C535F8FEB3E}"/>
              </a:ext>
            </a:extLst>
          </p:cNvPr>
          <p:cNvGrpSpPr/>
          <p:nvPr/>
        </p:nvGrpSpPr>
        <p:grpSpPr>
          <a:xfrm>
            <a:off x="719136" y="1118385"/>
            <a:ext cx="10440000" cy="779629"/>
            <a:chOff x="719136" y="1048048"/>
            <a:chExt cx="10440000" cy="779629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C413A776-B4DB-194E-8392-1642021FCC6C}"/>
                </a:ext>
              </a:extLst>
            </p:cNvPr>
            <p:cNvSpPr/>
            <p:nvPr/>
          </p:nvSpPr>
          <p:spPr>
            <a:xfrm>
              <a:off x="2901751" y="1048048"/>
              <a:ext cx="1745999" cy="779629"/>
            </a:xfrm>
            <a:prstGeom prst="rect">
              <a:avLst/>
            </a:prstGeom>
            <a:solidFill>
              <a:srgbClr val="A64D79">
                <a:alpha val="6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dirty="0"/>
                <a:t>3D Robot-Camera Calibration</a:t>
              </a: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22509F05-35C7-B645-A675-99DF4CC3B8B8}"/>
                </a:ext>
              </a:extLst>
            </p:cNvPr>
            <p:cNvSpPr/>
            <p:nvPr/>
          </p:nvSpPr>
          <p:spPr>
            <a:xfrm>
              <a:off x="5072213" y="1048048"/>
              <a:ext cx="1745999" cy="779629"/>
            </a:xfrm>
            <a:prstGeom prst="rect">
              <a:avLst/>
            </a:prstGeom>
            <a:solidFill>
              <a:srgbClr val="A64D79">
                <a:alpha val="6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latin typeface="Arial" panose="020B0604020202020204" pitchFamily="34" charset="0"/>
                </a:rPr>
                <a:t>Ball Detection</a:t>
              </a:r>
              <a:endParaRPr lang="en-US" dirty="0">
                <a:latin typeface="-webkit-standard"/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18179A3A-236F-CA49-ADED-B9836ED5BA18}"/>
                </a:ext>
              </a:extLst>
            </p:cNvPr>
            <p:cNvSpPr/>
            <p:nvPr/>
          </p:nvSpPr>
          <p:spPr>
            <a:xfrm>
              <a:off x="7242675" y="1048048"/>
              <a:ext cx="1745999" cy="779629"/>
            </a:xfrm>
            <a:prstGeom prst="rect">
              <a:avLst/>
            </a:prstGeom>
            <a:solidFill>
              <a:srgbClr val="A64D79">
                <a:alpha val="6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latin typeface="Arial" panose="020B0604020202020204" pitchFamily="34" charset="0"/>
                </a:rPr>
                <a:t>Ball Trajectory Estimation</a:t>
              </a:r>
              <a:endParaRPr lang="en-US" dirty="0">
                <a:latin typeface="-webkit-standard"/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3FBFB7F4-F9E1-5840-8046-07D965E2B938}"/>
                </a:ext>
              </a:extLst>
            </p:cNvPr>
            <p:cNvSpPr/>
            <p:nvPr/>
          </p:nvSpPr>
          <p:spPr>
            <a:xfrm>
              <a:off x="9413137" y="1048048"/>
              <a:ext cx="1745999" cy="779629"/>
            </a:xfrm>
            <a:prstGeom prst="rect">
              <a:avLst/>
            </a:prstGeom>
            <a:solidFill>
              <a:srgbClr val="A64D79">
                <a:alpha val="6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latin typeface="Arial" panose="020B0604020202020204" pitchFamily="34" charset="0"/>
                </a:rPr>
                <a:t>Robot Movement</a:t>
              </a:r>
              <a:endParaRPr lang="en-US" dirty="0">
                <a:latin typeface="-webkit-standard"/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FDB1E9C9-16BC-E542-9C4B-B8FC7086D841}"/>
                </a:ext>
              </a:extLst>
            </p:cNvPr>
            <p:cNvSpPr/>
            <p:nvPr/>
          </p:nvSpPr>
          <p:spPr>
            <a:xfrm>
              <a:off x="719136" y="1048048"/>
              <a:ext cx="1745999" cy="779629"/>
            </a:xfrm>
            <a:prstGeom prst="rect">
              <a:avLst/>
            </a:prstGeom>
            <a:solidFill>
              <a:srgbClr val="A64D7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dirty="0"/>
                <a:t>TCP – Connection</a:t>
              </a:r>
            </a:p>
          </p:txBody>
        </p:sp>
        <p:cxnSp>
          <p:nvCxnSpPr>
            <p:cNvPr id="10" name="Straight Arrow Connector 9">
              <a:extLst>
                <a:ext uri="{FF2B5EF4-FFF2-40B4-BE49-F238E27FC236}">
                  <a16:creationId xmlns:a16="http://schemas.microsoft.com/office/drawing/2014/main" id="{2F933E4E-9FDC-A446-9D54-90B7F5A006E6}"/>
                </a:ext>
              </a:extLst>
            </p:cNvPr>
            <p:cNvCxnSpPr>
              <a:cxnSpLocks/>
            </p:cNvCxnSpPr>
            <p:nvPr/>
          </p:nvCxnSpPr>
          <p:spPr>
            <a:xfrm>
              <a:off x="2448510" y="1437863"/>
              <a:ext cx="436616" cy="0"/>
            </a:xfrm>
            <a:prstGeom prst="straightConnector1">
              <a:avLst/>
            </a:prstGeom>
            <a:solidFill>
              <a:srgbClr val="A64D79">
                <a:alpha val="54000"/>
              </a:srgbClr>
            </a:solidFill>
            <a:ln w="47625">
              <a:solidFill>
                <a:srgbClr val="A64D79">
                  <a:alpha val="60000"/>
                </a:srgb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Arrow Connector 40">
              <a:extLst>
                <a:ext uri="{FF2B5EF4-FFF2-40B4-BE49-F238E27FC236}">
                  <a16:creationId xmlns:a16="http://schemas.microsoft.com/office/drawing/2014/main" id="{7E97F6BE-165E-3D4D-9039-F96C76B6A727}"/>
                </a:ext>
              </a:extLst>
            </p:cNvPr>
            <p:cNvCxnSpPr>
              <a:cxnSpLocks/>
              <a:endCxn id="14" idx="1"/>
            </p:cNvCxnSpPr>
            <p:nvPr/>
          </p:nvCxnSpPr>
          <p:spPr>
            <a:xfrm>
              <a:off x="4647750" y="1437863"/>
              <a:ext cx="424463" cy="0"/>
            </a:xfrm>
            <a:prstGeom prst="straightConnector1">
              <a:avLst/>
            </a:prstGeom>
            <a:solidFill>
              <a:srgbClr val="A64D79">
                <a:alpha val="54000"/>
              </a:srgbClr>
            </a:solidFill>
            <a:ln w="47625">
              <a:solidFill>
                <a:srgbClr val="A64D79">
                  <a:alpha val="60000"/>
                </a:srgb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Arrow Connector 41">
              <a:extLst>
                <a:ext uri="{FF2B5EF4-FFF2-40B4-BE49-F238E27FC236}">
                  <a16:creationId xmlns:a16="http://schemas.microsoft.com/office/drawing/2014/main" id="{5610CEDC-549F-834B-9500-9B0FBAC3EF73}"/>
                </a:ext>
              </a:extLst>
            </p:cNvPr>
            <p:cNvCxnSpPr>
              <a:cxnSpLocks/>
              <a:endCxn id="15" idx="1"/>
            </p:cNvCxnSpPr>
            <p:nvPr/>
          </p:nvCxnSpPr>
          <p:spPr>
            <a:xfrm>
              <a:off x="6818212" y="1437863"/>
              <a:ext cx="424463" cy="0"/>
            </a:xfrm>
            <a:prstGeom prst="straightConnector1">
              <a:avLst/>
            </a:prstGeom>
            <a:solidFill>
              <a:srgbClr val="A64D79">
                <a:alpha val="54000"/>
              </a:srgbClr>
            </a:solidFill>
            <a:ln w="47625">
              <a:solidFill>
                <a:srgbClr val="A64D79">
                  <a:alpha val="60000"/>
                </a:srgb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Arrow Connector 42">
              <a:extLst>
                <a:ext uri="{FF2B5EF4-FFF2-40B4-BE49-F238E27FC236}">
                  <a16:creationId xmlns:a16="http://schemas.microsoft.com/office/drawing/2014/main" id="{712AEE68-C6E0-4E42-919D-0B8C1979EF39}"/>
                </a:ext>
              </a:extLst>
            </p:cNvPr>
            <p:cNvCxnSpPr>
              <a:cxnSpLocks/>
              <a:stCxn id="15" idx="3"/>
            </p:cNvCxnSpPr>
            <p:nvPr/>
          </p:nvCxnSpPr>
          <p:spPr>
            <a:xfrm>
              <a:off x="8988674" y="1437863"/>
              <a:ext cx="437416" cy="0"/>
            </a:xfrm>
            <a:prstGeom prst="straightConnector1">
              <a:avLst/>
            </a:prstGeom>
            <a:solidFill>
              <a:srgbClr val="A64D79">
                <a:alpha val="54000"/>
              </a:srgbClr>
            </a:solidFill>
            <a:ln w="47625">
              <a:solidFill>
                <a:srgbClr val="A64D79">
                  <a:alpha val="60000"/>
                </a:srgb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31" name="Google Shape;163;p5">
            <a:extLst>
              <a:ext uri="{FF2B5EF4-FFF2-40B4-BE49-F238E27FC236}">
                <a16:creationId xmlns:a16="http://schemas.microsoft.com/office/drawing/2014/main" id="{733B6DAA-E512-6846-B2B9-427F42676823}"/>
              </a:ext>
            </a:extLst>
          </p:cNvPr>
          <p:cNvCxnSpPr/>
          <p:nvPr/>
        </p:nvCxnSpPr>
        <p:spPr>
          <a:xfrm>
            <a:off x="719136" y="2086569"/>
            <a:ext cx="10440000" cy="0"/>
          </a:xfrm>
          <a:prstGeom prst="straightConnector1">
            <a:avLst/>
          </a:prstGeom>
          <a:noFill/>
          <a:ln w="25400" cap="flat" cmpd="sng">
            <a:solidFill>
              <a:srgbClr val="A64D79"/>
            </a:solidFill>
            <a:prstDash val="dash"/>
            <a:round/>
            <a:headEnd type="none" w="sm" len="sm"/>
            <a:tailEnd type="none" w="sm" len="sm"/>
          </a:ln>
        </p:spPr>
      </p:cxnSp>
      <p:sp>
        <p:nvSpPr>
          <p:cNvPr id="52" name="Google Shape;165;p5">
            <a:extLst>
              <a:ext uri="{FF2B5EF4-FFF2-40B4-BE49-F238E27FC236}">
                <a16:creationId xmlns:a16="http://schemas.microsoft.com/office/drawing/2014/main" id="{BD0FC2BC-F373-654B-B0B4-662EEE54C9D2}"/>
              </a:ext>
            </a:extLst>
          </p:cNvPr>
          <p:cNvSpPr txBox="1"/>
          <p:nvPr/>
        </p:nvSpPr>
        <p:spPr>
          <a:xfrm>
            <a:off x="719138" y="6177600"/>
            <a:ext cx="7200000" cy="1231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de-DE" sz="800" b="0" u="none" dirty="0">
                <a:solidFill>
                  <a:srgbClr val="A64D79"/>
                </a:solidFill>
                <a:latin typeface="Arial"/>
                <a:ea typeface="Arial"/>
                <a:cs typeface="Arial"/>
                <a:sym typeface="Arial"/>
              </a:rPr>
              <a:t>Group 15 – </a:t>
            </a:r>
            <a:r>
              <a:rPr lang="de-DE" sz="800" b="0" u="none" dirty="0" err="1">
                <a:solidFill>
                  <a:srgbClr val="A64D79"/>
                </a:solidFill>
                <a:latin typeface="Arial"/>
                <a:ea typeface="Arial"/>
                <a:cs typeface="Arial"/>
                <a:sym typeface="Arial"/>
              </a:rPr>
              <a:t>RoboPong</a:t>
            </a:r>
            <a:r>
              <a:rPr lang="de-DE" sz="800" b="0" u="none" dirty="0">
                <a:solidFill>
                  <a:srgbClr val="A64D79"/>
                </a:solidFill>
                <a:latin typeface="Arial"/>
                <a:ea typeface="Arial"/>
                <a:cs typeface="Arial"/>
                <a:sym typeface="Arial"/>
              </a:rPr>
              <a:t> | Final </a:t>
            </a:r>
            <a:r>
              <a:rPr lang="de-DE" sz="800" b="0" u="none" dirty="0" err="1">
                <a:solidFill>
                  <a:srgbClr val="A64D79"/>
                </a:solidFill>
                <a:latin typeface="Arial"/>
                <a:ea typeface="Arial"/>
                <a:cs typeface="Arial"/>
                <a:sym typeface="Arial"/>
              </a:rPr>
              <a:t>Presentation</a:t>
            </a:r>
            <a:r>
              <a:rPr lang="de-DE" sz="800" b="0" u="none" dirty="0">
                <a:solidFill>
                  <a:srgbClr val="A64D79"/>
                </a:solidFill>
                <a:latin typeface="Arial"/>
                <a:ea typeface="Arial"/>
                <a:cs typeface="Arial"/>
                <a:sym typeface="Arial"/>
              </a:rPr>
              <a:t> |  CSIE5047 – </a:t>
            </a:r>
            <a:r>
              <a:rPr lang="de-DE" sz="800" b="0" u="none" dirty="0" err="1">
                <a:solidFill>
                  <a:srgbClr val="A64D79"/>
                </a:solidFill>
                <a:latin typeface="Arial"/>
                <a:ea typeface="Arial"/>
                <a:cs typeface="Arial"/>
                <a:sym typeface="Arial"/>
              </a:rPr>
              <a:t>Robotics</a:t>
            </a:r>
            <a:r>
              <a:rPr lang="de-DE" sz="800" b="0" u="none" dirty="0">
                <a:solidFill>
                  <a:srgbClr val="A64D79"/>
                </a:solidFill>
                <a:latin typeface="Arial"/>
                <a:ea typeface="Arial"/>
                <a:cs typeface="Arial"/>
                <a:sym typeface="Arial"/>
              </a:rPr>
              <a:t> | 2019/11/18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64360822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3" name="Google Shape;193;p7"/>
          <p:cNvSpPr txBox="1">
            <a:spLocks noGrp="1"/>
          </p:cNvSpPr>
          <p:nvPr>
            <p:ph type="sldNum" idx="12"/>
          </p:nvPr>
        </p:nvSpPr>
        <p:spPr>
          <a:xfrm>
            <a:off x="179705" y="6178550"/>
            <a:ext cx="360600" cy="123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None/>
            </a:pPr>
            <a:fld id="{00000000-1234-1234-1234-123412341234}" type="slidenum">
              <a:rPr lang="de-DE"/>
              <a:t>7</a:t>
            </a:fld>
            <a:endParaRPr/>
          </a:p>
        </p:txBody>
      </p:sp>
      <p:sp>
        <p:nvSpPr>
          <p:cNvPr id="194" name="Google Shape;194;p7"/>
          <p:cNvSpPr txBox="1"/>
          <p:nvPr/>
        </p:nvSpPr>
        <p:spPr>
          <a:xfrm>
            <a:off x="1087119" y="256540"/>
            <a:ext cx="9333888" cy="584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lvl="0">
              <a:lnSpc>
                <a:spcPct val="102000"/>
              </a:lnSpc>
              <a:buClr>
                <a:srgbClr val="A64D79"/>
              </a:buClr>
              <a:buSzPts val="3200"/>
            </a:pPr>
            <a:r>
              <a:rPr lang="de-DE" sz="3200" dirty="0" err="1">
                <a:solidFill>
                  <a:srgbClr val="A64D79"/>
                </a:solidFill>
              </a:rPr>
              <a:t>Catching</a:t>
            </a:r>
            <a:r>
              <a:rPr lang="de-DE" sz="3200" dirty="0">
                <a:solidFill>
                  <a:srgbClr val="A64D79"/>
                </a:solidFill>
              </a:rPr>
              <a:t> </a:t>
            </a:r>
            <a:r>
              <a:rPr lang="de-DE" sz="3200" dirty="0" err="1">
                <a:solidFill>
                  <a:srgbClr val="A64D79"/>
                </a:solidFill>
              </a:rPr>
              <a:t>Pong</a:t>
            </a:r>
            <a:r>
              <a:rPr lang="de-DE" sz="3200" dirty="0">
                <a:solidFill>
                  <a:srgbClr val="A64D79"/>
                </a:solidFill>
              </a:rPr>
              <a:t> Balls </a:t>
            </a:r>
            <a:r>
              <a:rPr lang="de-DE" sz="3200" dirty="0" err="1">
                <a:solidFill>
                  <a:srgbClr val="A64D79"/>
                </a:solidFill>
              </a:rPr>
              <a:t>with</a:t>
            </a:r>
            <a:r>
              <a:rPr lang="de-DE" sz="3200" dirty="0">
                <a:solidFill>
                  <a:srgbClr val="A64D79"/>
                </a:solidFill>
              </a:rPr>
              <a:t> ITRI Arm - </a:t>
            </a:r>
            <a:r>
              <a:rPr lang="de-DE" sz="3200" dirty="0" err="1">
                <a:solidFill>
                  <a:srgbClr val="A64D79"/>
                </a:solidFill>
              </a:rPr>
              <a:t>Subtasks</a:t>
            </a:r>
            <a:endParaRPr sz="3200" b="0" i="0" u="none" strike="noStrike" cap="none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31" name="Google Shape;195;p7">
            <a:extLst>
              <a:ext uri="{FF2B5EF4-FFF2-40B4-BE49-F238E27FC236}">
                <a16:creationId xmlns:a16="http://schemas.microsoft.com/office/drawing/2014/main" id="{9E39B46F-F640-6449-B0ED-BF1F2B176B27}"/>
              </a:ext>
            </a:extLst>
          </p:cNvPr>
          <p:cNvCxnSpPr/>
          <p:nvPr/>
        </p:nvCxnSpPr>
        <p:spPr>
          <a:xfrm>
            <a:off x="719136" y="929829"/>
            <a:ext cx="10440000" cy="0"/>
          </a:xfrm>
          <a:prstGeom prst="straightConnector1">
            <a:avLst/>
          </a:prstGeom>
          <a:noFill/>
          <a:ln w="38100" cap="flat" cmpd="sng">
            <a:solidFill>
              <a:srgbClr val="A64D79"/>
            </a:solidFill>
            <a:prstDash val="solid"/>
            <a:round/>
            <a:headEnd type="none" w="sm" len="sm"/>
            <a:tailEnd type="none" w="sm" len="sm"/>
          </a:ln>
        </p:spPr>
      </p:cxnSp>
      <p:grpSp>
        <p:nvGrpSpPr>
          <p:cNvPr id="39" name="Group 38">
            <a:extLst>
              <a:ext uri="{FF2B5EF4-FFF2-40B4-BE49-F238E27FC236}">
                <a16:creationId xmlns:a16="http://schemas.microsoft.com/office/drawing/2014/main" id="{5C1A37D2-EB77-A14F-8F39-2ADD4AD56836}"/>
              </a:ext>
            </a:extLst>
          </p:cNvPr>
          <p:cNvGrpSpPr/>
          <p:nvPr/>
        </p:nvGrpSpPr>
        <p:grpSpPr>
          <a:xfrm>
            <a:off x="719136" y="1118385"/>
            <a:ext cx="10440000" cy="779629"/>
            <a:chOff x="719136" y="1048048"/>
            <a:chExt cx="10440000" cy="779629"/>
          </a:xfrm>
        </p:grpSpPr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6C1F650A-B03F-DF46-B438-C4905265DC2E}"/>
                </a:ext>
              </a:extLst>
            </p:cNvPr>
            <p:cNvSpPr/>
            <p:nvPr/>
          </p:nvSpPr>
          <p:spPr>
            <a:xfrm>
              <a:off x="2901751" y="1048048"/>
              <a:ext cx="1745999" cy="779629"/>
            </a:xfrm>
            <a:prstGeom prst="rect">
              <a:avLst/>
            </a:prstGeom>
            <a:solidFill>
              <a:srgbClr val="A64D7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dirty="0"/>
                <a:t>3D Robot-Camera Calibration</a:t>
              </a:r>
            </a:p>
          </p:txBody>
        </p:sp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87C8C650-5B62-8E42-9873-25F89CED9FC3}"/>
                </a:ext>
              </a:extLst>
            </p:cNvPr>
            <p:cNvSpPr/>
            <p:nvPr/>
          </p:nvSpPr>
          <p:spPr>
            <a:xfrm>
              <a:off x="5072213" y="1048048"/>
              <a:ext cx="1745999" cy="779629"/>
            </a:xfrm>
            <a:prstGeom prst="rect">
              <a:avLst/>
            </a:prstGeom>
            <a:solidFill>
              <a:srgbClr val="A64D79">
                <a:alpha val="6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latin typeface="Arial" panose="020B0604020202020204" pitchFamily="34" charset="0"/>
                </a:rPr>
                <a:t>Ball Detection</a:t>
              </a:r>
              <a:endParaRPr lang="en-US" dirty="0">
                <a:latin typeface="-webkit-standard"/>
              </a:endParaRPr>
            </a:p>
          </p:txBody>
        </p:sp>
        <p:sp>
          <p:nvSpPr>
            <p:cNvPr id="45" name="Rectangle 44">
              <a:extLst>
                <a:ext uri="{FF2B5EF4-FFF2-40B4-BE49-F238E27FC236}">
                  <a16:creationId xmlns:a16="http://schemas.microsoft.com/office/drawing/2014/main" id="{A1011A70-110C-AE43-AB63-A06C4D4A99F9}"/>
                </a:ext>
              </a:extLst>
            </p:cNvPr>
            <p:cNvSpPr/>
            <p:nvPr/>
          </p:nvSpPr>
          <p:spPr>
            <a:xfrm>
              <a:off x="7242675" y="1048048"/>
              <a:ext cx="1745999" cy="779629"/>
            </a:xfrm>
            <a:prstGeom prst="rect">
              <a:avLst/>
            </a:prstGeom>
            <a:solidFill>
              <a:srgbClr val="A64D79">
                <a:alpha val="6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latin typeface="Arial" panose="020B0604020202020204" pitchFamily="34" charset="0"/>
                </a:rPr>
                <a:t>Ball Trajectory Estimation</a:t>
              </a:r>
              <a:endParaRPr lang="en-US" dirty="0">
                <a:latin typeface="-webkit-standard"/>
              </a:endParaRPr>
            </a:p>
          </p:txBody>
        </p:sp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id="{2B556D1B-9935-8443-9E3A-30B51EC38182}"/>
                </a:ext>
              </a:extLst>
            </p:cNvPr>
            <p:cNvSpPr/>
            <p:nvPr/>
          </p:nvSpPr>
          <p:spPr>
            <a:xfrm>
              <a:off x="9413137" y="1048048"/>
              <a:ext cx="1745999" cy="779629"/>
            </a:xfrm>
            <a:prstGeom prst="rect">
              <a:avLst/>
            </a:prstGeom>
            <a:solidFill>
              <a:srgbClr val="A64D79">
                <a:alpha val="6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latin typeface="Arial" panose="020B0604020202020204" pitchFamily="34" charset="0"/>
                </a:rPr>
                <a:t>Robot Movement</a:t>
              </a:r>
              <a:endParaRPr lang="en-US" dirty="0">
                <a:latin typeface="-webkit-standard"/>
              </a:endParaRPr>
            </a:p>
          </p:txBody>
        </p:sp>
        <p:sp>
          <p:nvSpPr>
            <p:cNvPr id="47" name="Rectangle 46">
              <a:extLst>
                <a:ext uri="{FF2B5EF4-FFF2-40B4-BE49-F238E27FC236}">
                  <a16:creationId xmlns:a16="http://schemas.microsoft.com/office/drawing/2014/main" id="{07A5D47F-3754-F44C-8898-E8E44F4E09AF}"/>
                </a:ext>
              </a:extLst>
            </p:cNvPr>
            <p:cNvSpPr/>
            <p:nvPr/>
          </p:nvSpPr>
          <p:spPr>
            <a:xfrm>
              <a:off x="719136" y="1048048"/>
              <a:ext cx="1745999" cy="779629"/>
            </a:xfrm>
            <a:prstGeom prst="rect">
              <a:avLst/>
            </a:prstGeom>
            <a:solidFill>
              <a:srgbClr val="A64D79">
                <a:alpha val="6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dirty="0"/>
                <a:t>TCP – Connection</a:t>
              </a:r>
            </a:p>
          </p:txBody>
        </p:sp>
      </p:grpSp>
      <p:cxnSp>
        <p:nvCxnSpPr>
          <p:cNvPr id="52" name="Google Shape;163;p5">
            <a:extLst>
              <a:ext uri="{FF2B5EF4-FFF2-40B4-BE49-F238E27FC236}">
                <a16:creationId xmlns:a16="http://schemas.microsoft.com/office/drawing/2014/main" id="{88FA75BC-18AB-BE4B-B499-A5CCA6755A94}"/>
              </a:ext>
            </a:extLst>
          </p:cNvPr>
          <p:cNvCxnSpPr/>
          <p:nvPr/>
        </p:nvCxnSpPr>
        <p:spPr>
          <a:xfrm>
            <a:off x="719136" y="2086569"/>
            <a:ext cx="10440000" cy="0"/>
          </a:xfrm>
          <a:prstGeom prst="straightConnector1">
            <a:avLst/>
          </a:prstGeom>
          <a:noFill/>
          <a:ln w="25400" cap="flat" cmpd="sng">
            <a:solidFill>
              <a:srgbClr val="A64D79"/>
            </a:solidFill>
            <a:prstDash val="dash"/>
            <a:round/>
            <a:headEnd type="none" w="sm" len="sm"/>
            <a:tailEnd type="none" w="sm" len="sm"/>
          </a:ln>
        </p:spPr>
      </p:cxnSp>
      <p:pic>
        <p:nvPicPr>
          <p:cNvPr id="6" name="Picture 5" descr="A picture containing indoor, sitting, table, small&#10;&#10;Description automatically generated">
            <a:extLst>
              <a:ext uri="{FF2B5EF4-FFF2-40B4-BE49-F238E27FC236}">
                <a16:creationId xmlns:a16="http://schemas.microsoft.com/office/drawing/2014/main" id="{4AB3CC14-18EC-324E-848E-35010B784123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2795970" y="2697713"/>
            <a:ext cx="3380677" cy="2535508"/>
          </a:xfrm>
          <a:prstGeom prst="rect">
            <a:avLst/>
          </a:prstGeom>
        </p:spPr>
      </p:pic>
      <p:cxnSp>
        <p:nvCxnSpPr>
          <p:cNvPr id="57" name="Straight Arrow Connector 56">
            <a:extLst>
              <a:ext uri="{FF2B5EF4-FFF2-40B4-BE49-F238E27FC236}">
                <a16:creationId xmlns:a16="http://schemas.microsoft.com/office/drawing/2014/main" id="{5522D729-6B22-7443-91ED-4CFE6792A08B}"/>
              </a:ext>
            </a:extLst>
          </p:cNvPr>
          <p:cNvCxnSpPr>
            <a:cxnSpLocks/>
          </p:cNvCxnSpPr>
          <p:nvPr/>
        </p:nvCxnSpPr>
        <p:spPr>
          <a:xfrm>
            <a:off x="2448510" y="1508200"/>
            <a:ext cx="436616" cy="0"/>
          </a:xfrm>
          <a:prstGeom prst="straightConnector1">
            <a:avLst/>
          </a:prstGeom>
          <a:solidFill>
            <a:srgbClr val="A64D79">
              <a:alpha val="54000"/>
            </a:srgbClr>
          </a:solidFill>
          <a:ln w="47625">
            <a:solidFill>
              <a:srgbClr val="A64D79">
                <a:alpha val="60000"/>
              </a:srgb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Straight Arrow Connector 57">
            <a:extLst>
              <a:ext uri="{FF2B5EF4-FFF2-40B4-BE49-F238E27FC236}">
                <a16:creationId xmlns:a16="http://schemas.microsoft.com/office/drawing/2014/main" id="{839DDCD0-78CC-A545-9677-6FF98FFAED31}"/>
              </a:ext>
            </a:extLst>
          </p:cNvPr>
          <p:cNvCxnSpPr>
            <a:cxnSpLocks/>
          </p:cNvCxnSpPr>
          <p:nvPr/>
        </p:nvCxnSpPr>
        <p:spPr>
          <a:xfrm>
            <a:off x="4647750" y="1508200"/>
            <a:ext cx="424463" cy="0"/>
          </a:xfrm>
          <a:prstGeom prst="straightConnector1">
            <a:avLst/>
          </a:prstGeom>
          <a:solidFill>
            <a:srgbClr val="A64D79">
              <a:alpha val="54000"/>
            </a:srgbClr>
          </a:solidFill>
          <a:ln w="47625">
            <a:solidFill>
              <a:srgbClr val="A64D79">
                <a:alpha val="60000"/>
              </a:srgb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Straight Arrow Connector 58">
            <a:extLst>
              <a:ext uri="{FF2B5EF4-FFF2-40B4-BE49-F238E27FC236}">
                <a16:creationId xmlns:a16="http://schemas.microsoft.com/office/drawing/2014/main" id="{27660E48-19D6-ED46-9458-6631A51BC107}"/>
              </a:ext>
            </a:extLst>
          </p:cNvPr>
          <p:cNvCxnSpPr>
            <a:cxnSpLocks/>
          </p:cNvCxnSpPr>
          <p:nvPr/>
        </p:nvCxnSpPr>
        <p:spPr>
          <a:xfrm>
            <a:off x="6818212" y="1508200"/>
            <a:ext cx="424463" cy="0"/>
          </a:xfrm>
          <a:prstGeom prst="straightConnector1">
            <a:avLst/>
          </a:prstGeom>
          <a:solidFill>
            <a:srgbClr val="A64D79">
              <a:alpha val="54000"/>
            </a:srgbClr>
          </a:solidFill>
          <a:ln w="47625">
            <a:solidFill>
              <a:srgbClr val="A64D79">
                <a:alpha val="60000"/>
              </a:srgb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Straight Arrow Connector 59">
            <a:extLst>
              <a:ext uri="{FF2B5EF4-FFF2-40B4-BE49-F238E27FC236}">
                <a16:creationId xmlns:a16="http://schemas.microsoft.com/office/drawing/2014/main" id="{EF324D6F-4558-3445-9274-D7865A45B5B7}"/>
              </a:ext>
            </a:extLst>
          </p:cNvPr>
          <p:cNvCxnSpPr>
            <a:cxnSpLocks/>
          </p:cNvCxnSpPr>
          <p:nvPr/>
        </p:nvCxnSpPr>
        <p:spPr>
          <a:xfrm>
            <a:off x="8988674" y="1508200"/>
            <a:ext cx="437416" cy="0"/>
          </a:xfrm>
          <a:prstGeom prst="straightConnector1">
            <a:avLst/>
          </a:prstGeom>
          <a:solidFill>
            <a:srgbClr val="A64D79">
              <a:alpha val="54000"/>
            </a:srgbClr>
          </a:solidFill>
          <a:ln w="47625">
            <a:solidFill>
              <a:srgbClr val="A64D79">
                <a:alpha val="60000"/>
              </a:srgb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Picture 16" descr="A picture containing blue, indoor, sitting, small&#10;&#10;Description automatically generated">
            <a:extLst>
              <a:ext uri="{FF2B5EF4-FFF2-40B4-BE49-F238E27FC236}">
                <a16:creationId xmlns:a16="http://schemas.microsoft.com/office/drawing/2014/main" id="{05021726-8925-FE4A-AE02-F1E79E408D82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5782606" y="2694994"/>
            <a:ext cx="3380679" cy="2535509"/>
          </a:xfrm>
          <a:prstGeom prst="rect">
            <a:avLst/>
          </a:prstGeom>
        </p:spPr>
      </p:pic>
      <p:sp>
        <p:nvSpPr>
          <p:cNvPr id="61" name="Google Shape;165;p5">
            <a:extLst>
              <a:ext uri="{FF2B5EF4-FFF2-40B4-BE49-F238E27FC236}">
                <a16:creationId xmlns:a16="http://schemas.microsoft.com/office/drawing/2014/main" id="{E446A51A-3080-994A-AC83-039B11FA36C2}"/>
              </a:ext>
            </a:extLst>
          </p:cNvPr>
          <p:cNvSpPr txBox="1"/>
          <p:nvPr/>
        </p:nvSpPr>
        <p:spPr>
          <a:xfrm>
            <a:off x="719138" y="6177600"/>
            <a:ext cx="7200000" cy="1231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de-DE" sz="800" b="0" u="none" dirty="0">
                <a:solidFill>
                  <a:srgbClr val="A64D79"/>
                </a:solidFill>
                <a:latin typeface="Arial"/>
                <a:ea typeface="Arial"/>
                <a:cs typeface="Arial"/>
                <a:sym typeface="Arial"/>
              </a:rPr>
              <a:t>Group 15 – </a:t>
            </a:r>
            <a:r>
              <a:rPr lang="de-DE" sz="800" b="0" u="none" dirty="0" err="1">
                <a:solidFill>
                  <a:srgbClr val="A64D79"/>
                </a:solidFill>
                <a:latin typeface="Arial"/>
                <a:ea typeface="Arial"/>
                <a:cs typeface="Arial"/>
                <a:sym typeface="Arial"/>
              </a:rPr>
              <a:t>RoboPong</a:t>
            </a:r>
            <a:r>
              <a:rPr lang="de-DE" sz="800" b="0" u="none" dirty="0">
                <a:solidFill>
                  <a:srgbClr val="A64D79"/>
                </a:solidFill>
                <a:latin typeface="Arial"/>
                <a:ea typeface="Arial"/>
                <a:cs typeface="Arial"/>
                <a:sym typeface="Arial"/>
              </a:rPr>
              <a:t> | Final </a:t>
            </a:r>
            <a:r>
              <a:rPr lang="de-DE" sz="800" b="0" u="none" dirty="0" err="1">
                <a:solidFill>
                  <a:srgbClr val="A64D79"/>
                </a:solidFill>
                <a:latin typeface="Arial"/>
                <a:ea typeface="Arial"/>
                <a:cs typeface="Arial"/>
                <a:sym typeface="Arial"/>
              </a:rPr>
              <a:t>Presentation</a:t>
            </a:r>
            <a:r>
              <a:rPr lang="de-DE" sz="800" b="0" u="none" dirty="0">
                <a:solidFill>
                  <a:srgbClr val="A64D79"/>
                </a:solidFill>
                <a:latin typeface="Arial"/>
                <a:ea typeface="Arial"/>
                <a:cs typeface="Arial"/>
                <a:sym typeface="Arial"/>
              </a:rPr>
              <a:t> |  CSIE5047 – </a:t>
            </a:r>
            <a:r>
              <a:rPr lang="de-DE" sz="800" b="0" u="none" dirty="0" err="1">
                <a:solidFill>
                  <a:srgbClr val="A64D79"/>
                </a:solidFill>
                <a:latin typeface="Arial"/>
                <a:ea typeface="Arial"/>
                <a:cs typeface="Arial"/>
                <a:sym typeface="Arial"/>
              </a:rPr>
              <a:t>Robotics</a:t>
            </a:r>
            <a:r>
              <a:rPr lang="de-DE" sz="800" b="0" u="none" dirty="0">
                <a:solidFill>
                  <a:srgbClr val="A64D79"/>
                </a:solidFill>
                <a:latin typeface="Arial"/>
                <a:ea typeface="Arial"/>
                <a:cs typeface="Arial"/>
                <a:sym typeface="Arial"/>
              </a:rPr>
              <a:t> | 2019/11/18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02493867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3" name="Google Shape;193;p7"/>
          <p:cNvSpPr txBox="1">
            <a:spLocks noGrp="1"/>
          </p:cNvSpPr>
          <p:nvPr>
            <p:ph type="sldNum" idx="12"/>
          </p:nvPr>
        </p:nvSpPr>
        <p:spPr>
          <a:xfrm>
            <a:off x="179705" y="6178550"/>
            <a:ext cx="360600" cy="123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None/>
            </a:pPr>
            <a:fld id="{00000000-1234-1234-1234-123412341234}" type="slidenum">
              <a:rPr lang="de-DE"/>
              <a:t>8</a:t>
            </a:fld>
            <a:endParaRPr/>
          </a:p>
        </p:txBody>
      </p:sp>
      <p:sp>
        <p:nvSpPr>
          <p:cNvPr id="194" name="Google Shape;194;p7"/>
          <p:cNvSpPr txBox="1"/>
          <p:nvPr/>
        </p:nvSpPr>
        <p:spPr>
          <a:xfrm>
            <a:off x="1087119" y="256540"/>
            <a:ext cx="9333888" cy="584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lvl="0">
              <a:lnSpc>
                <a:spcPct val="102000"/>
              </a:lnSpc>
              <a:buClr>
                <a:srgbClr val="A64D79"/>
              </a:buClr>
              <a:buSzPts val="3200"/>
            </a:pPr>
            <a:r>
              <a:rPr lang="de-DE" sz="3200" dirty="0" err="1">
                <a:solidFill>
                  <a:srgbClr val="A64D79"/>
                </a:solidFill>
              </a:rPr>
              <a:t>Catching</a:t>
            </a:r>
            <a:r>
              <a:rPr lang="de-DE" sz="3200" dirty="0">
                <a:solidFill>
                  <a:srgbClr val="A64D79"/>
                </a:solidFill>
              </a:rPr>
              <a:t> </a:t>
            </a:r>
            <a:r>
              <a:rPr lang="de-DE" sz="3200" dirty="0" err="1">
                <a:solidFill>
                  <a:srgbClr val="A64D79"/>
                </a:solidFill>
              </a:rPr>
              <a:t>Pong</a:t>
            </a:r>
            <a:r>
              <a:rPr lang="de-DE" sz="3200" dirty="0">
                <a:solidFill>
                  <a:srgbClr val="A64D79"/>
                </a:solidFill>
              </a:rPr>
              <a:t> Balls </a:t>
            </a:r>
            <a:r>
              <a:rPr lang="de-DE" sz="3200" dirty="0" err="1">
                <a:solidFill>
                  <a:srgbClr val="A64D79"/>
                </a:solidFill>
              </a:rPr>
              <a:t>with</a:t>
            </a:r>
            <a:r>
              <a:rPr lang="de-DE" sz="3200" dirty="0">
                <a:solidFill>
                  <a:srgbClr val="A64D79"/>
                </a:solidFill>
              </a:rPr>
              <a:t> ITRI Arm - </a:t>
            </a:r>
            <a:r>
              <a:rPr lang="de-DE" sz="3200" dirty="0" err="1">
                <a:solidFill>
                  <a:srgbClr val="A64D79"/>
                </a:solidFill>
              </a:rPr>
              <a:t>Subtasks</a:t>
            </a:r>
            <a:endParaRPr sz="3200" b="0" i="0" u="none" strike="noStrike" cap="none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97" name="Google Shape;197;p7"/>
          <p:cNvSpPr txBox="1">
            <a:spLocks noGrp="1"/>
          </p:cNvSpPr>
          <p:nvPr>
            <p:ph type="body" idx="6"/>
          </p:nvPr>
        </p:nvSpPr>
        <p:spPr>
          <a:xfrm>
            <a:off x="719999" y="5761038"/>
            <a:ext cx="10440000" cy="179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45720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</a:pPr>
            <a:endParaRPr/>
          </a:p>
        </p:txBody>
      </p:sp>
      <p:cxnSp>
        <p:nvCxnSpPr>
          <p:cNvPr id="31" name="Google Shape;195;p7">
            <a:extLst>
              <a:ext uri="{FF2B5EF4-FFF2-40B4-BE49-F238E27FC236}">
                <a16:creationId xmlns:a16="http://schemas.microsoft.com/office/drawing/2014/main" id="{90244285-7A41-5D49-AF80-8649F1184657}"/>
              </a:ext>
            </a:extLst>
          </p:cNvPr>
          <p:cNvCxnSpPr/>
          <p:nvPr/>
        </p:nvCxnSpPr>
        <p:spPr>
          <a:xfrm>
            <a:off x="719136" y="929829"/>
            <a:ext cx="10440000" cy="0"/>
          </a:xfrm>
          <a:prstGeom prst="straightConnector1">
            <a:avLst/>
          </a:prstGeom>
          <a:noFill/>
          <a:ln w="38100" cap="flat" cmpd="sng">
            <a:solidFill>
              <a:srgbClr val="A64D79"/>
            </a:solidFill>
            <a:prstDash val="solid"/>
            <a:round/>
            <a:headEnd type="none" w="sm" len="sm"/>
            <a:tailEnd type="none" w="sm" len="sm"/>
          </a:ln>
        </p:spPr>
      </p:cxnSp>
      <p:grpSp>
        <p:nvGrpSpPr>
          <p:cNvPr id="39" name="Group 38">
            <a:extLst>
              <a:ext uri="{FF2B5EF4-FFF2-40B4-BE49-F238E27FC236}">
                <a16:creationId xmlns:a16="http://schemas.microsoft.com/office/drawing/2014/main" id="{016934BB-7BEA-884C-8087-2FAE45CD1B53}"/>
              </a:ext>
            </a:extLst>
          </p:cNvPr>
          <p:cNvGrpSpPr/>
          <p:nvPr/>
        </p:nvGrpSpPr>
        <p:grpSpPr>
          <a:xfrm>
            <a:off x="719136" y="1118385"/>
            <a:ext cx="10440000" cy="779629"/>
            <a:chOff x="719136" y="1048048"/>
            <a:chExt cx="10440000" cy="779629"/>
          </a:xfrm>
        </p:grpSpPr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0E3B8F71-78D1-144E-B828-C6FC13DD42D0}"/>
                </a:ext>
              </a:extLst>
            </p:cNvPr>
            <p:cNvSpPr/>
            <p:nvPr/>
          </p:nvSpPr>
          <p:spPr>
            <a:xfrm>
              <a:off x="2901751" y="1048048"/>
              <a:ext cx="1745999" cy="779629"/>
            </a:xfrm>
            <a:prstGeom prst="rect">
              <a:avLst/>
            </a:prstGeom>
            <a:solidFill>
              <a:srgbClr val="A64D79">
                <a:alpha val="6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dirty="0"/>
                <a:t>3D Robot-Camera Calibration</a:t>
              </a:r>
            </a:p>
          </p:txBody>
        </p:sp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8EF85E62-9FCB-E141-821D-AADD0B875123}"/>
                </a:ext>
              </a:extLst>
            </p:cNvPr>
            <p:cNvSpPr/>
            <p:nvPr/>
          </p:nvSpPr>
          <p:spPr>
            <a:xfrm>
              <a:off x="5072213" y="1048048"/>
              <a:ext cx="1745999" cy="779629"/>
            </a:xfrm>
            <a:prstGeom prst="rect">
              <a:avLst/>
            </a:prstGeom>
            <a:solidFill>
              <a:srgbClr val="A64D7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latin typeface="Arial" panose="020B0604020202020204" pitchFamily="34" charset="0"/>
                </a:rPr>
                <a:t>Ball Detection</a:t>
              </a:r>
              <a:endParaRPr lang="en-US" dirty="0">
                <a:latin typeface="-webkit-standard"/>
              </a:endParaRPr>
            </a:p>
          </p:txBody>
        </p:sp>
        <p:sp>
          <p:nvSpPr>
            <p:cNvPr id="45" name="Rectangle 44">
              <a:extLst>
                <a:ext uri="{FF2B5EF4-FFF2-40B4-BE49-F238E27FC236}">
                  <a16:creationId xmlns:a16="http://schemas.microsoft.com/office/drawing/2014/main" id="{25FF85CA-2E10-BF40-814C-0C8A8F6FEA42}"/>
                </a:ext>
              </a:extLst>
            </p:cNvPr>
            <p:cNvSpPr/>
            <p:nvPr/>
          </p:nvSpPr>
          <p:spPr>
            <a:xfrm>
              <a:off x="7242675" y="1048048"/>
              <a:ext cx="1745999" cy="779629"/>
            </a:xfrm>
            <a:prstGeom prst="rect">
              <a:avLst/>
            </a:prstGeom>
            <a:solidFill>
              <a:srgbClr val="A64D79">
                <a:alpha val="6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latin typeface="Arial" panose="020B0604020202020204" pitchFamily="34" charset="0"/>
                </a:rPr>
                <a:t>Ball Trajectory Estimation</a:t>
              </a:r>
              <a:endParaRPr lang="en-US" dirty="0">
                <a:latin typeface="-webkit-standard"/>
              </a:endParaRPr>
            </a:p>
          </p:txBody>
        </p:sp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id="{420B6EB7-306C-9D46-BAE1-ACF7ED0AAFB0}"/>
                </a:ext>
              </a:extLst>
            </p:cNvPr>
            <p:cNvSpPr/>
            <p:nvPr/>
          </p:nvSpPr>
          <p:spPr>
            <a:xfrm>
              <a:off x="9413137" y="1048048"/>
              <a:ext cx="1745999" cy="779629"/>
            </a:xfrm>
            <a:prstGeom prst="rect">
              <a:avLst/>
            </a:prstGeom>
            <a:solidFill>
              <a:srgbClr val="A64D79">
                <a:alpha val="6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latin typeface="Arial" panose="020B0604020202020204" pitchFamily="34" charset="0"/>
                </a:rPr>
                <a:t>Robot Movement</a:t>
              </a:r>
              <a:endParaRPr lang="en-US" dirty="0">
                <a:latin typeface="-webkit-standard"/>
              </a:endParaRPr>
            </a:p>
          </p:txBody>
        </p:sp>
        <p:sp>
          <p:nvSpPr>
            <p:cNvPr id="47" name="Rectangle 46">
              <a:extLst>
                <a:ext uri="{FF2B5EF4-FFF2-40B4-BE49-F238E27FC236}">
                  <a16:creationId xmlns:a16="http://schemas.microsoft.com/office/drawing/2014/main" id="{98448D3A-D973-5A44-95B2-617002CC2A63}"/>
                </a:ext>
              </a:extLst>
            </p:cNvPr>
            <p:cNvSpPr/>
            <p:nvPr/>
          </p:nvSpPr>
          <p:spPr>
            <a:xfrm>
              <a:off x="719136" y="1048048"/>
              <a:ext cx="1745999" cy="779629"/>
            </a:xfrm>
            <a:prstGeom prst="rect">
              <a:avLst/>
            </a:prstGeom>
            <a:solidFill>
              <a:srgbClr val="A64D79">
                <a:alpha val="6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dirty="0"/>
                <a:t>TCP – Connection</a:t>
              </a:r>
            </a:p>
          </p:txBody>
        </p:sp>
      </p:grpSp>
      <p:cxnSp>
        <p:nvCxnSpPr>
          <p:cNvPr id="52" name="Google Shape;163;p5">
            <a:extLst>
              <a:ext uri="{FF2B5EF4-FFF2-40B4-BE49-F238E27FC236}">
                <a16:creationId xmlns:a16="http://schemas.microsoft.com/office/drawing/2014/main" id="{05D556FC-D977-E349-8CCD-3AD13E95C448}"/>
              </a:ext>
            </a:extLst>
          </p:cNvPr>
          <p:cNvCxnSpPr/>
          <p:nvPr/>
        </p:nvCxnSpPr>
        <p:spPr>
          <a:xfrm>
            <a:off x="719136" y="2086569"/>
            <a:ext cx="10440000" cy="0"/>
          </a:xfrm>
          <a:prstGeom prst="straightConnector1">
            <a:avLst/>
          </a:prstGeom>
          <a:noFill/>
          <a:ln w="25400" cap="flat" cmpd="sng">
            <a:solidFill>
              <a:srgbClr val="A64D79"/>
            </a:solidFill>
            <a:prstDash val="dash"/>
            <a:round/>
            <a:headEnd type="none" w="sm" len="sm"/>
            <a:tailEnd type="none" w="sm" len="sm"/>
          </a:ln>
        </p:spPr>
      </p:cxnSp>
      <p:grpSp>
        <p:nvGrpSpPr>
          <p:cNvPr id="9" name="Group 8">
            <a:extLst>
              <a:ext uri="{FF2B5EF4-FFF2-40B4-BE49-F238E27FC236}">
                <a16:creationId xmlns:a16="http://schemas.microsoft.com/office/drawing/2014/main" id="{62443F14-B780-8847-B09C-4613D70B8ECE}"/>
              </a:ext>
            </a:extLst>
          </p:cNvPr>
          <p:cNvGrpSpPr/>
          <p:nvPr/>
        </p:nvGrpSpPr>
        <p:grpSpPr>
          <a:xfrm>
            <a:off x="6808818" y="2254252"/>
            <a:ext cx="4084886" cy="3029921"/>
            <a:chOff x="1324324" y="2097435"/>
            <a:chExt cx="5248183" cy="3753099"/>
          </a:xfrm>
        </p:grpSpPr>
        <p:pic>
          <p:nvPicPr>
            <p:cNvPr id="54" name="Picture 53" descr="A screenshot of a computer screen&#10;&#10;Description automatically generated">
              <a:extLst>
                <a:ext uri="{FF2B5EF4-FFF2-40B4-BE49-F238E27FC236}">
                  <a16:creationId xmlns:a16="http://schemas.microsoft.com/office/drawing/2014/main" id="{8201A0AB-BB99-0640-90FB-B3FCF754E2D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324324" y="2097435"/>
              <a:ext cx="5248183" cy="2162907"/>
            </a:xfrm>
            <a:prstGeom prst="rect">
              <a:avLst/>
            </a:prstGeom>
          </p:spPr>
        </p:pic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75546158-A56D-4145-AF50-C3B2AE1D1FAE}"/>
                </a:ext>
              </a:extLst>
            </p:cNvPr>
            <p:cNvGrpSpPr/>
            <p:nvPr/>
          </p:nvGrpSpPr>
          <p:grpSpPr>
            <a:xfrm>
              <a:off x="1324324" y="3738112"/>
              <a:ext cx="5248183" cy="2112422"/>
              <a:chOff x="1324324" y="3376702"/>
              <a:chExt cx="5248183" cy="2112422"/>
            </a:xfrm>
          </p:grpSpPr>
          <p:pic>
            <p:nvPicPr>
              <p:cNvPr id="55" name="Picture 54" descr="A screenshot of a computer screen&#10;&#10;Description automatically generated">
                <a:extLst>
                  <a:ext uri="{FF2B5EF4-FFF2-40B4-BE49-F238E27FC236}">
                    <a16:creationId xmlns:a16="http://schemas.microsoft.com/office/drawing/2014/main" id="{66122709-0D8E-1F4E-BE45-81385FB53F1D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4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1324324" y="3376702"/>
                <a:ext cx="5248183" cy="2112422"/>
              </a:xfrm>
              <a:prstGeom prst="rect">
                <a:avLst/>
              </a:prstGeom>
            </p:spPr>
          </p:pic>
          <p:sp>
            <p:nvSpPr>
              <p:cNvPr id="2" name="Oval 1">
                <a:extLst>
                  <a:ext uri="{FF2B5EF4-FFF2-40B4-BE49-F238E27FC236}">
                    <a16:creationId xmlns:a16="http://schemas.microsoft.com/office/drawing/2014/main" id="{7D7CA29A-FB72-D440-BC51-DE7F96D6A5CB}"/>
                  </a:ext>
                </a:extLst>
              </p:cNvPr>
              <p:cNvSpPr/>
              <p:nvPr/>
            </p:nvSpPr>
            <p:spPr>
              <a:xfrm>
                <a:off x="2513365" y="4437653"/>
                <a:ext cx="78629" cy="75807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</p:grpSp>
      <p:pic>
        <p:nvPicPr>
          <p:cNvPr id="12" name="Picture 11" descr="A screen shot of a computer&#10;&#10;Description automatically generated">
            <a:extLst>
              <a:ext uri="{FF2B5EF4-FFF2-40B4-BE49-F238E27FC236}">
                <a16:creationId xmlns:a16="http://schemas.microsoft.com/office/drawing/2014/main" id="{2FF76C10-4CE3-D745-A66A-75079B39283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19138" y="2245966"/>
            <a:ext cx="5365750" cy="3038203"/>
          </a:xfrm>
          <a:prstGeom prst="rect">
            <a:avLst/>
          </a:prstGeom>
        </p:spPr>
      </p:pic>
      <p:cxnSp>
        <p:nvCxnSpPr>
          <p:cNvPr id="60" name="Straight Arrow Connector 59">
            <a:extLst>
              <a:ext uri="{FF2B5EF4-FFF2-40B4-BE49-F238E27FC236}">
                <a16:creationId xmlns:a16="http://schemas.microsoft.com/office/drawing/2014/main" id="{92EB06D9-C4B8-2F4F-833A-75C097D632E5}"/>
              </a:ext>
            </a:extLst>
          </p:cNvPr>
          <p:cNvCxnSpPr>
            <a:cxnSpLocks/>
          </p:cNvCxnSpPr>
          <p:nvPr/>
        </p:nvCxnSpPr>
        <p:spPr>
          <a:xfrm>
            <a:off x="2448510" y="1508200"/>
            <a:ext cx="436616" cy="0"/>
          </a:xfrm>
          <a:prstGeom prst="straightConnector1">
            <a:avLst/>
          </a:prstGeom>
          <a:solidFill>
            <a:srgbClr val="A64D79">
              <a:alpha val="54000"/>
            </a:srgbClr>
          </a:solidFill>
          <a:ln w="47625">
            <a:solidFill>
              <a:srgbClr val="A64D79">
                <a:alpha val="60000"/>
              </a:srgb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Straight Arrow Connector 60">
            <a:extLst>
              <a:ext uri="{FF2B5EF4-FFF2-40B4-BE49-F238E27FC236}">
                <a16:creationId xmlns:a16="http://schemas.microsoft.com/office/drawing/2014/main" id="{8AEB8FD4-4C91-DE42-B414-4C7992A26F2C}"/>
              </a:ext>
            </a:extLst>
          </p:cNvPr>
          <p:cNvCxnSpPr>
            <a:cxnSpLocks/>
          </p:cNvCxnSpPr>
          <p:nvPr/>
        </p:nvCxnSpPr>
        <p:spPr>
          <a:xfrm>
            <a:off x="4647750" y="1508200"/>
            <a:ext cx="424463" cy="0"/>
          </a:xfrm>
          <a:prstGeom prst="straightConnector1">
            <a:avLst/>
          </a:prstGeom>
          <a:solidFill>
            <a:srgbClr val="A64D79">
              <a:alpha val="54000"/>
            </a:srgbClr>
          </a:solidFill>
          <a:ln w="47625">
            <a:solidFill>
              <a:srgbClr val="A64D79">
                <a:alpha val="60000"/>
              </a:srgb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Arrow Connector 61">
            <a:extLst>
              <a:ext uri="{FF2B5EF4-FFF2-40B4-BE49-F238E27FC236}">
                <a16:creationId xmlns:a16="http://schemas.microsoft.com/office/drawing/2014/main" id="{92D23A52-1EA8-3241-BFA4-B644DF4E4022}"/>
              </a:ext>
            </a:extLst>
          </p:cNvPr>
          <p:cNvCxnSpPr>
            <a:cxnSpLocks/>
          </p:cNvCxnSpPr>
          <p:nvPr/>
        </p:nvCxnSpPr>
        <p:spPr>
          <a:xfrm>
            <a:off x="6818212" y="1508200"/>
            <a:ext cx="424463" cy="0"/>
          </a:xfrm>
          <a:prstGeom prst="straightConnector1">
            <a:avLst/>
          </a:prstGeom>
          <a:solidFill>
            <a:srgbClr val="A64D79">
              <a:alpha val="54000"/>
            </a:srgbClr>
          </a:solidFill>
          <a:ln w="47625">
            <a:solidFill>
              <a:srgbClr val="A64D79">
                <a:alpha val="60000"/>
              </a:srgb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Arrow Connector 62">
            <a:extLst>
              <a:ext uri="{FF2B5EF4-FFF2-40B4-BE49-F238E27FC236}">
                <a16:creationId xmlns:a16="http://schemas.microsoft.com/office/drawing/2014/main" id="{9DE0EED9-5D82-6343-A94E-A278FD15EAFA}"/>
              </a:ext>
            </a:extLst>
          </p:cNvPr>
          <p:cNvCxnSpPr>
            <a:cxnSpLocks/>
          </p:cNvCxnSpPr>
          <p:nvPr/>
        </p:nvCxnSpPr>
        <p:spPr>
          <a:xfrm>
            <a:off x="8988674" y="1508200"/>
            <a:ext cx="437416" cy="0"/>
          </a:xfrm>
          <a:prstGeom prst="straightConnector1">
            <a:avLst/>
          </a:prstGeom>
          <a:solidFill>
            <a:srgbClr val="A64D79">
              <a:alpha val="54000"/>
            </a:srgbClr>
          </a:solidFill>
          <a:ln w="47625">
            <a:solidFill>
              <a:srgbClr val="A64D79">
                <a:alpha val="60000"/>
              </a:srgb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Google Shape;165;p5">
            <a:extLst>
              <a:ext uri="{FF2B5EF4-FFF2-40B4-BE49-F238E27FC236}">
                <a16:creationId xmlns:a16="http://schemas.microsoft.com/office/drawing/2014/main" id="{890CB0FD-E6D4-3640-B933-1982340154F4}"/>
              </a:ext>
            </a:extLst>
          </p:cNvPr>
          <p:cNvSpPr txBox="1"/>
          <p:nvPr/>
        </p:nvSpPr>
        <p:spPr>
          <a:xfrm>
            <a:off x="719138" y="6177600"/>
            <a:ext cx="7200000" cy="1231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de-DE" sz="800" b="0" u="none" dirty="0">
                <a:solidFill>
                  <a:srgbClr val="A64D79"/>
                </a:solidFill>
                <a:latin typeface="Arial"/>
                <a:ea typeface="Arial"/>
                <a:cs typeface="Arial"/>
                <a:sym typeface="Arial"/>
              </a:rPr>
              <a:t>Group 15 – </a:t>
            </a:r>
            <a:r>
              <a:rPr lang="de-DE" sz="800" b="0" u="none" dirty="0" err="1">
                <a:solidFill>
                  <a:srgbClr val="A64D79"/>
                </a:solidFill>
                <a:latin typeface="Arial"/>
                <a:ea typeface="Arial"/>
                <a:cs typeface="Arial"/>
                <a:sym typeface="Arial"/>
              </a:rPr>
              <a:t>RoboPong</a:t>
            </a:r>
            <a:r>
              <a:rPr lang="de-DE" sz="800" b="0" u="none" dirty="0">
                <a:solidFill>
                  <a:srgbClr val="A64D79"/>
                </a:solidFill>
                <a:latin typeface="Arial"/>
                <a:ea typeface="Arial"/>
                <a:cs typeface="Arial"/>
                <a:sym typeface="Arial"/>
              </a:rPr>
              <a:t> | Final </a:t>
            </a:r>
            <a:r>
              <a:rPr lang="de-DE" sz="800" b="0" u="none" dirty="0" err="1">
                <a:solidFill>
                  <a:srgbClr val="A64D79"/>
                </a:solidFill>
                <a:latin typeface="Arial"/>
                <a:ea typeface="Arial"/>
                <a:cs typeface="Arial"/>
                <a:sym typeface="Arial"/>
              </a:rPr>
              <a:t>Presentation</a:t>
            </a:r>
            <a:r>
              <a:rPr lang="de-DE" sz="800" b="0" u="none" dirty="0">
                <a:solidFill>
                  <a:srgbClr val="A64D79"/>
                </a:solidFill>
                <a:latin typeface="Arial"/>
                <a:ea typeface="Arial"/>
                <a:cs typeface="Arial"/>
                <a:sym typeface="Arial"/>
              </a:rPr>
              <a:t> |  CSIE5047 – </a:t>
            </a:r>
            <a:r>
              <a:rPr lang="de-DE" sz="800" b="0" u="none" dirty="0" err="1">
                <a:solidFill>
                  <a:srgbClr val="A64D79"/>
                </a:solidFill>
                <a:latin typeface="Arial"/>
                <a:ea typeface="Arial"/>
                <a:cs typeface="Arial"/>
                <a:sym typeface="Arial"/>
              </a:rPr>
              <a:t>Robotics</a:t>
            </a:r>
            <a:r>
              <a:rPr lang="de-DE" sz="800" b="0" u="none" dirty="0">
                <a:solidFill>
                  <a:srgbClr val="A64D79"/>
                </a:solidFill>
                <a:latin typeface="Arial"/>
                <a:ea typeface="Arial"/>
                <a:cs typeface="Arial"/>
                <a:sym typeface="Arial"/>
              </a:rPr>
              <a:t> | 2019/11/18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11656131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close up of a map&#10;&#10;Description automatically generated">
            <a:extLst>
              <a:ext uri="{FF2B5EF4-FFF2-40B4-BE49-F238E27FC236}">
                <a16:creationId xmlns:a16="http://schemas.microsoft.com/office/drawing/2014/main" id="{727C3504-D3AF-564D-A8FD-91CAB101755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00717" y="2052945"/>
            <a:ext cx="5005102" cy="3470929"/>
          </a:xfrm>
          <a:prstGeom prst="rect">
            <a:avLst/>
          </a:prstGeom>
        </p:spPr>
      </p:pic>
      <p:sp>
        <p:nvSpPr>
          <p:cNvPr id="193" name="Google Shape;193;p7"/>
          <p:cNvSpPr txBox="1">
            <a:spLocks noGrp="1"/>
          </p:cNvSpPr>
          <p:nvPr>
            <p:ph type="sldNum" idx="12"/>
          </p:nvPr>
        </p:nvSpPr>
        <p:spPr>
          <a:xfrm>
            <a:off x="179705" y="6178550"/>
            <a:ext cx="360600" cy="123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None/>
            </a:pPr>
            <a:fld id="{00000000-1234-1234-1234-123412341234}" type="slidenum">
              <a:rPr lang="de-DE"/>
              <a:t>9</a:t>
            </a:fld>
            <a:endParaRPr/>
          </a:p>
        </p:txBody>
      </p:sp>
      <p:sp>
        <p:nvSpPr>
          <p:cNvPr id="194" name="Google Shape;194;p7"/>
          <p:cNvSpPr txBox="1"/>
          <p:nvPr/>
        </p:nvSpPr>
        <p:spPr>
          <a:xfrm>
            <a:off x="1087119" y="256540"/>
            <a:ext cx="9333888" cy="584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lvl="0">
              <a:lnSpc>
                <a:spcPct val="102000"/>
              </a:lnSpc>
              <a:buClr>
                <a:srgbClr val="A64D79"/>
              </a:buClr>
              <a:buSzPts val="3200"/>
            </a:pPr>
            <a:r>
              <a:rPr lang="de-DE" sz="3200" dirty="0" err="1">
                <a:solidFill>
                  <a:srgbClr val="A64D79"/>
                </a:solidFill>
              </a:rPr>
              <a:t>Catching</a:t>
            </a:r>
            <a:r>
              <a:rPr lang="de-DE" sz="3200" dirty="0">
                <a:solidFill>
                  <a:srgbClr val="A64D79"/>
                </a:solidFill>
              </a:rPr>
              <a:t> </a:t>
            </a:r>
            <a:r>
              <a:rPr lang="de-DE" sz="3200" dirty="0" err="1">
                <a:solidFill>
                  <a:srgbClr val="A64D79"/>
                </a:solidFill>
              </a:rPr>
              <a:t>Pong</a:t>
            </a:r>
            <a:r>
              <a:rPr lang="de-DE" sz="3200" dirty="0">
                <a:solidFill>
                  <a:srgbClr val="A64D79"/>
                </a:solidFill>
              </a:rPr>
              <a:t> Balls </a:t>
            </a:r>
            <a:r>
              <a:rPr lang="de-DE" sz="3200" dirty="0" err="1">
                <a:solidFill>
                  <a:srgbClr val="A64D79"/>
                </a:solidFill>
              </a:rPr>
              <a:t>with</a:t>
            </a:r>
            <a:r>
              <a:rPr lang="de-DE" sz="3200" dirty="0">
                <a:solidFill>
                  <a:srgbClr val="A64D79"/>
                </a:solidFill>
              </a:rPr>
              <a:t> ITRI Arm - </a:t>
            </a:r>
            <a:r>
              <a:rPr lang="de-DE" sz="3200" dirty="0" err="1">
                <a:solidFill>
                  <a:srgbClr val="A64D79"/>
                </a:solidFill>
              </a:rPr>
              <a:t>Subtasks</a:t>
            </a:r>
            <a:endParaRPr sz="3200" b="0" i="0" u="none" strike="noStrike" cap="none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97" name="Google Shape;197;p7"/>
          <p:cNvSpPr txBox="1">
            <a:spLocks noGrp="1"/>
          </p:cNvSpPr>
          <p:nvPr>
            <p:ph type="body" idx="6"/>
          </p:nvPr>
        </p:nvSpPr>
        <p:spPr>
          <a:xfrm>
            <a:off x="719999" y="5761038"/>
            <a:ext cx="10440000" cy="179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45720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</a:pPr>
            <a:endParaRPr/>
          </a:p>
        </p:txBody>
      </p:sp>
      <p:cxnSp>
        <p:nvCxnSpPr>
          <p:cNvPr id="31" name="Google Shape;195;p7">
            <a:extLst>
              <a:ext uri="{FF2B5EF4-FFF2-40B4-BE49-F238E27FC236}">
                <a16:creationId xmlns:a16="http://schemas.microsoft.com/office/drawing/2014/main" id="{81A008E5-71D5-7941-B05F-AB6847DCDA0E}"/>
              </a:ext>
            </a:extLst>
          </p:cNvPr>
          <p:cNvCxnSpPr/>
          <p:nvPr/>
        </p:nvCxnSpPr>
        <p:spPr>
          <a:xfrm>
            <a:off x="719136" y="929829"/>
            <a:ext cx="10440000" cy="0"/>
          </a:xfrm>
          <a:prstGeom prst="straightConnector1">
            <a:avLst/>
          </a:prstGeom>
          <a:noFill/>
          <a:ln w="38100" cap="flat" cmpd="sng">
            <a:solidFill>
              <a:srgbClr val="A64D79"/>
            </a:solidFill>
            <a:prstDash val="solid"/>
            <a:round/>
            <a:headEnd type="none" w="sm" len="sm"/>
            <a:tailEnd type="none" w="sm" len="sm"/>
          </a:ln>
        </p:spPr>
      </p:cxnSp>
      <p:grpSp>
        <p:nvGrpSpPr>
          <p:cNvPr id="39" name="Group 38">
            <a:extLst>
              <a:ext uri="{FF2B5EF4-FFF2-40B4-BE49-F238E27FC236}">
                <a16:creationId xmlns:a16="http://schemas.microsoft.com/office/drawing/2014/main" id="{701B2110-E513-CA4B-A5F1-3C074058E922}"/>
              </a:ext>
            </a:extLst>
          </p:cNvPr>
          <p:cNvGrpSpPr/>
          <p:nvPr/>
        </p:nvGrpSpPr>
        <p:grpSpPr>
          <a:xfrm>
            <a:off x="719136" y="1118385"/>
            <a:ext cx="10440000" cy="779629"/>
            <a:chOff x="719136" y="1048048"/>
            <a:chExt cx="10440000" cy="779629"/>
          </a:xfrm>
        </p:grpSpPr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FA227154-7CBA-6E44-9915-F047FF9806BA}"/>
                </a:ext>
              </a:extLst>
            </p:cNvPr>
            <p:cNvSpPr/>
            <p:nvPr/>
          </p:nvSpPr>
          <p:spPr>
            <a:xfrm>
              <a:off x="2901751" y="1048048"/>
              <a:ext cx="1745999" cy="779629"/>
            </a:xfrm>
            <a:prstGeom prst="rect">
              <a:avLst/>
            </a:prstGeom>
            <a:solidFill>
              <a:srgbClr val="A64D79">
                <a:alpha val="6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dirty="0"/>
                <a:t>3D Robot-Camera Calibration</a:t>
              </a:r>
            </a:p>
          </p:txBody>
        </p:sp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03E9368A-4F69-C54B-B31D-DBA4F56A4A48}"/>
                </a:ext>
              </a:extLst>
            </p:cNvPr>
            <p:cNvSpPr/>
            <p:nvPr/>
          </p:nvSpPr>
          <p:spPr>
            <a:xfrm>
              <a:off x="5072213" y="1048048"/>
              <a:ext cx="1745999" cy="779629"/>
            </a:xfrm>
            <a:prstGeom prst="rect">
              <a:avLst/>
            </a:prstGeom>
            <a:solidFill>
              <a:srgbClr val="A64D79">
                <a:alpha val="6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latin typeface="Arial" panose="020B0604020202020204" pitchFamily="34" charset="0"/>
                </a:rPr>
                <a:t>Ball Detection</a:t>
              </a:r>
              <a:endParaRPr lang="en-US" dirty="0">
                <a:latin typeface="-webkit-standard"/>
              </a:endParaRPr>
            </a:p>
          </p:txBody>
        </p:sp>
        <p:sp>
          <p:nvSpPr>
            <p:cNvPr id="45" name="Rectangle 44">
              <a:extLst>
                <a:ext uri="{FF2B5EF4-FFF2-40B4-BE49-F238E27FC236}">
                  <a16:creationId xmlns:a16="http://schemas.microsoft.com/office/drawing/2014/main" id="{03B7449F-C4C3-5D4D-A77A-21C3B4BF08E4}"/>
                </a:ext>
              </a:extLst>
            </p:cNvPr>
            <p:cNvSpPr/>
            <p:nvPr/>
          </p:nvSpPr>
          <p:spPr>
            <a:xfrm>
              <a:off x="7242675" y="1048048"/>
              <a:ext cx="1745999" cy="779629"/>
            </a:xfrm>
            <a:prstGeom prst="rect">
              <a:avLst/>
            </a:prstGeom>
            <a:solidFill>
              <a:srgbClr val="A64D7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latin typeface="Arial" panose="020B0604020202020204" pitchFamily="34" charset="0"/>
                </a:rPr>
                <a:t>Ball Trajectory Estimation</a:t>
              </a:r>
              <a:endParaRPr lang="en-US" dirty="0">
                <a:latin typeface="-webkit-standard"/>
              </a:endParaRPr>
            </a:p>
          </p:txBody>
        </p:sp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id="{02A978FC-FE41-3241-8D6F-92F36C47D295}"/>
                </a:ext>
              </a:extLst>
            </p:cNvPr>
            <p:cNvSpPr/>
            <p:nvPr/>
          </p:nvSpPr>
          <p:spPr>
            <a:xfrm>
              <a:off x="9413137" y="1048048"/>
              <a:ext cx="1745999" cy="779629"/>
            </a:xfrm>
            <a:prstGeom prst="rect">
              <a:avLst/>
            </a:prstGeom>
            <a:solidFill>
              <a:srgbClr val="A64D79">
                <a:alpha val="6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latin typeface="Arial" panose="020B0604020202020204" pitchFamily="34" charset="0"/>
                </a:rPr>
                <a:t>Robot Movement</a:t>
              </a:r>
              <a:endParaRPr lang="en-US" dirty="0">
                <a:latin typeface="-webkit-standard"/>
              </a:endParaRPr>
            </a:p>
          </p:txBody>
        </p:sp>
        <p:sp>
          <p:nvSpPr>
            <p:cNvPr id="47" name="Rectangle 46">
              <a:extLst>
                <a:ext uri="{FF2B5EF4-FFF2-40B4-BE49-F238E27FC236}">
                  <a16:creationId xmlns:a16="http://schemas.microsoft.com/office/drawing/2014/main" id="{E83A5FE4-5DF6-674E-8A05-72A25415F978}"/>
                </a:ext>
              </a:extLst>
            </p:cNvPr>
            <p:cNvSpPr/>
            <p:nvPr/>
          </p:nvSpPr>
          <p:spPr>
            <a:xfrm>
              <a:off x="719136" y="1048048"/>
              <a:ext cx="1745999" cy="779629"/>
            </a:xfrm>
            <a:prstGeom prst="rect">
              <a:avLst/>
            </a:prstGeom>
            <a:solidFill>
              <a:srgbClr val="A64D79">
                <a:alpha val="6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dirty="0"/>
                <a:t>TCP – Connection</a:t>
              </a:r>
            </a:p>
          </p:txBody>
        </p:sp>
      </p:grpSp>
      <p:cxnSp>
        <p:nvCxnSpPr>
          <p:cNvPr id="52" name="Google Shape;163;p5">
            <a:extLst>
              <a:ext uri="{FF2B5EF4-FFF2-40B4-BE49-F238E27FC236}">
                <a16:creationId xmlns:a16="http://schemas.microsoft.com/office/drawing/2014/main" id="{580415A3-4B19-0647-81C8-C5B9A3A261FC}"/>
              </a:ext>
            </a:extLst>
          </p:cNvPr>
          <p:cNvCxnSpPr/>
          <p:nvPr/>
        </p:nvCxnSpPr>
        <p:spPr>
          <a:xfrm>
            <a:off x="719136" y="2086569"/>
            <a:ext cx="10440000" cy="0"/>
          </a:xfrm>
          <a:prstGeom prst="straightConnector1">
            <a:avLst/>
          </a:prstGeom>
          <a:noFill/>
          <a:ln w="25400" cap="flat" cmpd="sng">
            <a:solidFill>
              <a:srgbClr val="A64D79"/>
            </a:solidFill>
            <a:prstDash val="dash"/>
            <a:round/>
            <a:headEnd type="none" w="sm" len="sm"/>
            <a:tailEnd type="none" w="sm" len="sm"/>
          </a:ln>
        </p:spPr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6B92BEE3-971E-9540-B500-1C525E5C25C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89251" y="2252638"/>
            <a:ext cx="5540325" cy="3047179"/>
          </a:xfrm>
          <a:prstGeom prst="rect">
            <a:avLst/>
          </a:prstGeom>
        </p:spPr>
      </p:pic>
      <p:cxnSp>
        <p:nvCxnSpPr>
          <p:cNvPr id="64" name="Straight Arrow Connector 63">
            <a:extLst>
              <a:ext uri="{FF2B5EF4-FFF2-40B4-BE49-F238E27FC236}">
                <a16:creationId xmlns:a16="http://schemas.microsoft.com/office/drawing/2014/main" id="{1D57F05F-0AF0-434A-A38B-5D774EA03E87}"/>
              </a:ext>
            </a:extLst>
          </p:cNvPr>
          <p:cNvCxnSpPr>
            <a:cxnSpLocks/>
          </p:cNvCxnSpPr>
          <p:nvPr/>
        </p:nvCxnSpPr>
        <p:spPr>
          <a:xfrm>
            <a:off x="2448510" y="1508200"/>
            <a:ext cx="436616" cy="0"/>
          </a:xfrm>
          <a:prstGeom prst="straightConnector1">
            <a:avLst/>
          </a:prstGeom>
          <a:solidFill>
            <a:srgbClr val="A64D79">
              <a:alpha val="54000"/>
            </a:srgbClr>
          </a:solidFill>
          <a:ln w="47625">
            <a:solidFill>
              <a:srgbClr val="A64D79">
                <a:alpha val="60000"/>
              </a:srgb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Straight Arrow Connector 64">
            <a:extLst>
              <a:ext uri="{FF2B5EF4-FFF2-40B4-BE49-F238E27FC236}">
                <a16:creationId xmlns:a16="http://schemas.microsoft.com/office/drawing/2014/main" id="{A32B84AA-CEB2-3D41-984A-2C0AE68FDA3E}"/>
              </a:ext>
            </a:extLst>
          </p:cNvPr>
          <p:cNvCxnSpPr>
            <a:cxnSpLocks/>
          </p:cNvCxnSpPr>
          <p:nvPr/>
        </p:nvCxnSpPr>
        <p:spPr>
          <a:xfrm>
            <a:off x="4647750" y="1508200"/>
            <a:ext cx="424463" cy="0"/>
          </a:xfrm>
          <a:prstGeom prst="straightConnector1">
            <a:avLst/>
          </a:prstGeom>
          <a:solidFill>
            <a:srgbClr val="A64D79">
              <a:alpha val="54000"/>
            </a:srgbClr>
          </a:solidFill>
          <a:ln w="47625">
            <a:solidFill>
              <a:srgbClr val="A64D79">
                <a:alpha val="60000"/>
              </a:srgb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Straight Arrow Connector 65">
            <a:extLst>
              <a:ext uri="{FF2B5EF4-FFF2-40B4-BE49-F238E27FC236}">
                <a16:creationId xmlns:a16="http://schemas.microsoft.com/office/drawing/2014/main" id="{8807634E-DCF7-A54B-86C5-B08F4A5A09AF}"/>
              </a:ext>
            </a:extLst>
          </p:cNvPr>
          <p:cNvCxnSpPr>
            <a:cxnSpLocks/>
          </p:cNvCxnSpPr>
          <p:nvPr/>
        </p:nvCxnSpPr>
        <p:spPr>
          <a:xfrm>
            <a:off x="6818212" y="1508200"/>
            <a:ext cx="424463" cy="0"/>
          </a:xfrm>
          <a:prstGeom prst="straightConnector1">
            <a:avLst/>
          </a:prstGeom>
          <a:solidFill>
            <a:srgbClr val="A64D79">
              <a:alpha val="54000"/>
            </a:srgbClr>
          </a:solidFill>
          <a:ln w="47625">
            <a:solidFill>
              <a:srgbClr val="A64D79">
                <a:alpha val="60000"/>
              </a:srgb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Straight Arrow Connector 66">
            <a:extLst>
              <a:ext uri="{FF2B5EF4-FFF2-40B4-BE49-F238E27FC236}">
                <a16:creationId xmlns:a16="http://schemas.microsoft.com/office/drawing/2014/main" id="{5940B5E0-0477-6A43-9E49-7394A688E501}"/>
              </a:ext>
            </a:extLst>
          </p:cNvPr>
          <p:cNvCxnSpPr>
            <a:cxnSpLocks/>
          </p:cNvCxnSpPr>
          <p:nvPr/>
        </p:nvCxnSpPr>
        <p:spPr>
          <a:xfrm>
            <a:off x="8988674" y="1508200"/>
            <a:ext cx="437416" cy="0"/>
          </a:xfrm>
          <a:prstGeom prst="straightConnector1">
            <a:avLst/>
          </a:prstGeom>
          <a:solidFill>
            <a:srgbClr val="A64D79">
              <a:alpha val="54000"/>
            </a:srgbClr>
          </a:solidFill>
          <a:ln w="47625">
            <a:solidFill>
              <a:srgbClr val="A64D79">
                <a:alpha val="60000"/>
              </a:srgb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Google Shape;165;p5">
            <a:extLst>
              <a:ext uri="{FF2B5EF4-FFF2-40B4-BE49-F238E27FC236}">
                <a16:creationId xmlns:a16="http://schemas.microsoft.com/office/drawing/2014/main" id="{4015D5CE-1311-294B-954D-03524EB6E5AC}"/>
              </a:ext>
            </a:extLst>
          </p:cNvPr>
          <p:cNvSpPr txBox="1"/>
          <p:nvPr/>
        </p:nvSpPr>
        <p:spPr>
          <a:xfrm>
            <a:off x="719138" y="6177600"/>
            <a:ext cx="7200000" cy="1231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de-DE" sz="800" b="0" u="none" dirty="0">
                <a:solidFill>
                  <a:srgbClr val="A64D79"/>
                </a:solidFill>
                <a:latin typeface="Arial"/>
                <a:ea typeface="Arial"/>
                <a:cs typeface="Arial"/>
                <a:sym typeface="Arial"/>
              </a:rPr>
              <a:t>Group 15 – </a:t>
            </a:r>
            <a:r>
              <a:rPr lang="de-DE" sz="800" b="0" u="none" dirty="0" err="1">
                <a:solidFill>
                  <a:srgbClr val="A64D79"/>
                </a:solidFill>
                <a:latin typeface="Arial"/>
                <a:ea typeface="Arial"/>
                <a:cs typeface="Arial"/>
                <a:sym typeface="Arial"/>
              </a:rPr>
              <a:t>RoboPong</a:t>
            </a:r>
            <a:r>
              <a:rPr lang="de-DE" sz="800" b="0" u="none" dirty="0">
                <a:solidFill>
                  <a:srgbClr val="A64D79"/>
                </a:solidFill>
                <a:latin typeface="Arial"/>
                <a:ea typeface="Arial"/>
                <a:cs typeface="Arial"/>
                <a:sym typeface="Arial"/>
              </a:rPr>
              <a:t> | Final </a:t>
            </a:r>
            <a:r>
              <a:rPr lang="de-DE" sz="800" b="0" u="none" dirty="0" err="1">
                <a:solidFill>
                  <a:srgbClr val="A64D79"/>
                </a:solidFill>
                <a:latin typeface="Arial"/>
                <a:ea typeface="Arial"/>
                <a:cs typeface="Arial"/>
                <a:sym typeface="Arial"/>
              </a:rPr>
              <a:t>Presentation</a:t>
            </a:r>
            <a:r>
              <a:rPr lang="de-DE" sz="800" b="0" u="none" dirty="0">
                <a:solidFill>
                  <a:srgbClr val="A64D79"/>
                </a:solidFill>
                <a:latin typeface="Arial"/>
                <a:ea typeface="Arial"/>
                <a:cs typeface="Arial"/>
                <a:sym typeface="Arial"/>
              </a:rPr>
              <a:t> |  CSIE5047 – </a:t>
            </a:r>
            <a:r>
              <a:rPr lang="de-DE" sz="800" b="0" u="none" dirty="0" err="1">
                <a:solidFill>
                  <a:srgbClr val="A64D79"/>
                </a:solidFill>
                <a:latin typeface="Arial"/>
                <a:ea typeface="Arial"/>
                <a:cs typeface="Arial"/>
                <a:sym typeface="Arial"/>
              </a:rPr>
              <a:t>Robotics</a:t>
            </a:r>
            <a:r>
              <a:rPr lang="de-DE" sz="800" b="0" u="none" dirty="0">
                <a:solidFill>
                  <a:srgbClr val="A64D79"/>
                </a:solidFill>
                <a:latin typeface="Arial"/>
                <a:ea typeface="Arial"/>
                <a:cs typeface="Arial"/>
                <a:sym typeface="Arial"/>
              </a:rPr>
              <a:t> | 2019/11/18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66409049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Xnw9oOOMUSBn3BPrUiOX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Folienmaster extern">
  <a:themeElements>
    <a:clrScheme name="delta">
      <a:dk1>
        <a:srgbClr val="000000"/>
      </a:dk1>
      <a:lt1>
        <a:srgbClr val="FFFFFF"/>
      </a:lt1>
      <a:dk2>
        <a:srgbClr val="CCCCCC"/>
      </a:dk2>
      <a:lt2>
        <a:srgbClr val="99D8F3"/>
      </a:lt2>
      <a:accent1>
        <a:srgbClr val="009EE0"/>
      </a:accent1>
      <a:accent2>
        <a:srgbClr val="009036"/>
      </a:accent2>
      <a:accent3>
        <a:srgbClr val="97BF0D"/>
      </a:accent3>
      <a:accent4>
        <a:srgbClr val="F29400"/>
      </a:accent4>
      <a:accent5>
        <a:srgbClr val="E2001A"/>
      </a:accent5>
      <a:accent6>
        <a:srgbClr val="93107E"/>
      </a:accent6>
      <a:hlink>
        <a:srgbClr val="000000"/>
      </a:hlink>
      <a:folHlink>
        <a:srgbClr val="000000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Larissa-Design">
  <a:themeElements>
    <a:clrScheme name="Larissa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697</TotalTime>
  <Words>404</Words>
  <Application>Microsoft Macintosh PowerPoint</Application>
  <PresentationFormat>Custom</PresentationFormat>
  <Paragraphs>91</Paragraphs>
  <Slides>11</Slides>
  <Notes>1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17" baseType="lpstr">
      <vt:lpstr>-webkit-standard</vt:lpstr>
      <vt:lpstr>Arial</vt:lpstr>
      <vt:lpstr>Calibri</vt:lpstr>
      <vt:lpstr>Noto Sans Symbols</vt:lpstr>
      <vt:lpstr>Folienmaster extern</vt:lpstr>
      <vt:lpstr>think-cell Folie</vt:lpstr>
      <vt:lpstr>PowerPoint Presentation</vt:lpstr>
      <vt:lpstr>Group 15 – RoboPong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artin Kühner</dc:creator>
  <cp:lastModifiedBy>Gregor Lied</cp:lastModifiedBy>
  <cp:revision>22</cp:revision>
  <dcterms:created xsi:type="dcterms:W3CDTF">2019-09-16T15:18:32Z</dcterms:created>
  <dcterms:modified xsi:type="dcterms:W3CDTF">2019-12-30T04:23:1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F00F7DE4E981E4DB6EB0250C4421D28</vt:lpwstr>
  </property>
  <property fmtid="{D5CDD505-2E9C-101B-9397-08002B2CF9AE}" pid="3" name="AuthorIds_UIVersion_512">
    <vt:lpwstr>17</vt:lpwstr>
  </property>
</Properties>
</file>